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slideLayouts/slideLayout30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408.xml" ContentType="application/vnd.openxmlformats-officedocument.presentationml.slideLayout+xml"/>
  <Default Extension="xml" ContentType="application/xml"/>
  <Override PartName="/ppt/slideLayouts/slideLayout24.xml" ContentType="application/vnd.openxmlformats-officedocument.presentationml.slideLayout+xml"/>
  <Override PartName="/ppt/slideLayouts/slideLayout247.xml" ContentType="application/vnd.openxmlformats-officedocument.presentationml.slideLayout+xml"/>
  <Override PartName="/ppt/tags/tag38.xml" ContentType="application/vnd.openxmlformats-officedocument.presentationml.tags+xml"/>
  <Override PartName="/ppt/slideLayouts/slideLayout578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Layouts/slideLayout10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tags/tag63.xml" ContentType="application/vnd.openxmlformats-officedocument.presentationml.tags+xml"/>
  <Override PartName="/ppt/slideMasters/slideMaster11.xml" ContentType="application/vnd.openxmlformats-officedocument.presentationml.slideMaster+xml"/>
  <Override PartName="/ppt/slideLayouts/slideLayout272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notesSlides/notesSlide7.xml" ContentType="application/vnd.openxmlformats-officedocument.presentationml.notesSlide+xml"/>
  <Override PartName="/ppt/slideLayouts/slideLayout187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720.xml" ContentType="application/vnd.openxmlformats-officedocument.presentationml.slideLayout+xml"/>
  <Default Extension="png" ContentType="image/png"/>
  <Override PartName="/ppt/slideLayouts/slideLayout118.xml" ContentType="application/vnd.openxmlformats-officedocument.presentationml.slideLayout+xml"/>
  <Override PartName="/ppt/tags/tag5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405.xml" ContentType="application/vnd.openxmlformats-officedocument.presentationml.slideLayout+xml"/>
  <Override PartName="/ppt/tags/tag35.xml" ContentType="application/vnd.openxmlformats-officedocument.presentationml.tags+xml"/>
  <Override PartName="/ppt/notesSlides/notesSlide13.xml" ContentType="application/vnd.openxmlformats-officedocument.presentationml.notesSlide+xml"/>
  <Override PartName="/ppt/slideLayouts/slideLayout244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tags/tag60.xml" ContentType="application/vnd.openxmlformats-officedocument.presentationml.tags+xml"/>
  <Override PartName="/ppt/slideLayouts/slideLayout159.xml" ContentType="application/vnd.openxmlformats-officedocument.presentationml.slideLayout+xml"/>
  <Override PartName="/ppt/slideLayouts/slideLayout345.xml" ContentType="application/vnd.openxmlformats-officedocument.presentationml.slideLayout+xml"/>
  <Override PartName="/ppt/notesSlides/notesSlide4.xml" ContentType="application/vnd.openxmlformats-officedocument.presentationml.notesSlide+xml"/>
  <Override PartName="/ppt/slideLayouts/slideLayout184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5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85.xml" ContentType="application/vnd.openxmlformats-officedocument.presentationml.slideLayout+xml"/>
  <Override PartName="/ppt/tags/tag29.xml" ContentType="application/vnd.openxmlformats-officedocument.presentationml.tags+xml"/>
  <Override PartName="/ppt/slideLayouts/slideLayout569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708.xml" ContentType="application/vnd.openxmlformats-officedocument.presentationml.slideLayout+xml"/>
  <Override PartName="/ppt/tags/tag54.xml" ContentType="application/vnd.openxmlformats-officedocument.presentationml.tags+xml"/>
  <Override PartName="/ppt/slideLayouts/slideLayout216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86.xml" ContentType="application/vnd.openxmlformats-officedocument.presentationml.slideLayout+xml"/>
  <Override PartName="/ppt/tags/tag32.xml" ContentType="application/vnd.openxmlformats-officedocument.presentationml.tags+xml"/>
  <Override PartName="/ppt/slideLayouts/slideLayout525.xml" ContentType="application/vnd.openxmlformats-officedocument.presentationml.slideLayout+xml"/>
  <Override PartName="/ppt/slideLayouts/slideLayout572.xml" ContentType="application/vnd.openxmlformats-officedocument.presentationml.slideLayout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78.xml" ContentType="application/vnd.openxmlformats-officedocument.presentationml.slideLayout+xml"/>
  <Override PartName="/ppt/tags/tag10.xml" ContentType="application/vnd.openxmlformats-officedocument.presentationml.tags+xml"/>
  <Override PartName="/ppt/slideLayouts/slideLayout178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Layouts/slideLayout109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50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56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s/slide13.xml" ContentType="application/vnd.openxmlformats-officedocument.presentationml.slide+xml"/>
  <Override PartName="/ppt/slideLayouts/slideLayout112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51.xml" ContentType="application/vnd.openxmlformats-officedocument.presentationml.slideLayout+xml"/>
  <Override PartName="/ppt/tags/tag48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235.xml" ContentType="application/vnd.openxmlformats-officedocument.presentationml.slideLayout+xml"/>
  <Override PartName="/ppt/tags/tag26.xml" ContentType="application/vnd.openxmlformats-officedocument.presentationml.tags+xml"/>
  <Override PartName="/ppt/slideLayouts/slideLayout443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91.xml" ContentType="application/vnd.openxmlformats-officedocument.presentationml.slideLayout+xml"/>
  <Override PartName="/ppt/theme/theme9.xml" ContentType="application/vnd.openxmlformats-officedocument.theme+xml"/>
  <Override PartName="/ppt/tags/tag51.xml" ContentType="application/vnd.openxmlformats-officedocument.presentationml.tags+xml"/>
  <Override PartName="/ppt/slideLayouts/slideLayout689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s/slide10.xml" ContentType="application/vnd.openxmlformats-officedocument.presentationml.slide+xml"/>
  <Override PartName="/ppt/slideLayouts/slideLayout31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399.xml" ContentType="application/vnd.openxmlformats-officedocument.presentationml.slideLayout+xml"/>
  <Override PartName="/ppt/tags/tag45.xml" ContentType="application/vnd.openxmlformats-officedocument.presentationml.tags+xml"/>
  <Override PartName="/ppt/slideLayouts/slideLayout601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ags/tag23.xml" ContentType="application/vnd.openxmlformats-officedocument.presentationml.tags+xml"/>
  <Override PartName="/ppt/slideLayouts/slideLayout377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69.xml" ContentType="application/vnd.openxmlformats-officedocument.presentationml.slideLayout+xml"/>
  <Override PartName="/ppt/tags/tag9.xml" ContentType="application/vnd.openxmlformats-officedocument.presentationml.tags+xml"/>
  <Override PartName="/ppt/slideLayouts/slideLayout16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55.xml" ContentType="application/vnd.openxmlformats-officedocument.presentationml.slideLayout+xml"/>
  <Override PartName="/ppt/theme/theme6.xml" ContentType="application/vnd.openxmlformats-officedocument.theme+xml"/>
  <Override PartName="/ppt/slideLayouts/slideLayout639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702.xml" ContentType="application/vnd.openxmlformats-officedocument.presentationml.slideLayout+xml"/>
  <Default Extension="bin" ContentType="application/vnd.openxmlformats-officedocument.oleObject"/>
  <Override PartName="/ppt/slideLayouts/slideLayout147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56.xml" ContentType="application/vnd.openxmlformats-officedocument.presentationml.slideLayout+xml"/>
  <Override PartName="/ppt/tags/tag39.xml" ContentType="application/vnd.openxmlformats-officedocument.presentationml.tags+xml"/>
  <Override PartName="/ppt/slideLayouts/slideLayout642.xml" ContentType="application/vnd.openxmlformats-officedocument.presentationml.slideLayout+xml"/>
  <Override PartName="/ppt/notesSlides/notesSlide17.xml" ContentType="application/vnd.openxmlformats-officedocument.presentationml.notesSlide+xml"/>
  <Override PartName="/ppt/slideLayouts/slideLayout103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226.xml" ContentType="application/vnd.openxmlformats-officedocument.presentationml.slideLayout+xml"/>
  <Override PartName="/ppt/tags/tag17.xml" ContentType="application/vnd.openxmlformats-officedocument.presentationml.tags+xml"/>
  <Override PartName="/ppt/slideLayouts/slideLayout273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718.xml" ContentType="application/vnd.openxmlformats-officedocument.presentationml.slideLayout+xml"/>
  <Override PartName="/ppt/tags/tag64.xml" ContentType="application/vnd.openxmlformats-officedocument.presentationml.tags+xml"/>
  <Override PartName="/ppt/slideMasters/slideMaster9.xml" ContentType="application/vnd.openxmlformats-officedocument.presentationml.slideMaster+xml"/>
  <Override PartName="/ppt/slideLayouts/slideLayout349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412.xml" ContentType="application/vnd.openxmlformats-officedocument.presentationml.slideLayout+xml"/>
  <Override PartName="/ppt/notesSlides/notesSlide8.xml" ContentType="application/vnd.openxmlformats-officedocument.presentationml.notesSlide+xml"/>
  <Override PartName="/ppt/slideLayouts/slideLayout188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82.xml" ContentType="application/vnd.openxmlformats-officedocument.presentationml.slideLayout+xml"/>
  <Override PartName="/ppt/tags/tag42.xml" ContentType="application/vnd.openxmlformats-officedocument.presentationml.tags+xml"/>
  <Override PartName="/ppt/handoutMasters/handoutMaster1.xml" ContentType="application/vnd.openxmlformats-officedocument.presentationml.handoutMaster+xml"/>
  <Override PartName="/ppt/slideLayouts/slideLayout88.xml" ContentType="application/vnd.openxmlformats-officedocument.presentationml.slideLayout+xml"/>
  <Override PartName="/ppt/tags/tag20.xml" ContentType="application/vnd.openxmlformats-officedocument.presentationml.tags+xml"/>
  <Override PartName="/ppt/slideLayouts/slideLayout327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721.xml" ContentType="application/vnd.openxmlformats-officedocument.presentationml.slideLayout+xml"/>
  <Override PartName="/ppt/theme/theme11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ags/tag6.xml" ContentType="application/vnd.openxmlformats-officedocument.presentationml.tags+xml"/>
  <Override PartName="/ppt/slideLayouts/slideLayout16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60.xml" ContentType="application/vnd.openxmlformats-officedocument.presentationml.slideLayout+xml"/>
  <Override PartName="/ppt/theme/theme3.xml" ContentType="application/vnd.openxmlformats-officedocument.theme+xml"/>
  <Override PartName="/ppt/slideLayouts/slideLayout289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61.xml" ContentType="application/vnd.openxmlformats-officedocument.presentationml.slideLayout+xml"/>
  <Override PartName="/ppt/tags/tag58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92.xml" ContentType="application/vnd.openxmlformats-officedocument.presentationml.slideLayout+xml"/>
  <Override PartName="/ppt/tags/tag36.xml" ContentType="application/vnd.openxmlformats-officedocument.presentationml.tags+xml"/>
  <Override PartName="/ppt/slideLayouts/slideLayout529.xml" ContentType="application/vnd.openxmlformats-officedocument.presentationml.slideLayout+xml"/>
  <Override PartName="/ppt/slideLayouts/slideLayout576.xml" ContentType="application/vnd.openxmlformats-officedocument.presentationml.slideLayout+xml"/>
  <Override PartName="/ppt/notesSlides/notesSlide14.xml" ContentType="application/vnd.openxmlformats-officedocument.presentationml.notesSlide+xml"/>
  <Override PartName="/ppt/commentAuthors.xml" ContentType="application/vnd.openxmlformats-officedocument.presentationml.commentAuthors+xml"/>
  <Override PartName="/ppt/slideLayouts/slideLayout100.xml" ContentType="application/vnd.openxmlformats-officedocument.presentationml.slideLayout+xml"/>
  <Override PartName="/ppt/tags/tag14.xml" ContentType="application/vnd.openxmlformats-officedocument.presentationml.tags+xml"/>
  <Override PartName="/ppt/slideLayouts/slideLayout368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715.xml" ContentType="application/vnd.openxmlformats-officedocument.presentationml.slideLayout+xml"/>
  <Override PartName="/ppt/tags/tag61.xml" ContentType="application/vnd.openxmlformats-officedocument.presentationml.tags+xml"/>
  <Override PartName="/ppt/slideMasters/slideMaster6.xml" ContentType="application/vnd.openxmlformats-officedocument.presentationml.slideMaster+xml"/>
  <Override PartName="/ppt/slideLayouts/slideLayout223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677.xml" ContentType="application/vnd.openxmlformats-officedocument.presentationml.slideLayout+xml"/>
  <Override PartName="/ppt/notesSlides/notesSlide5.xml" ContentType="application/vnd.openxmlformats-officedocument.presentationml.notesSlide+xml"/>
  <Override PartName="/ppt/slideLayouts/slideLayout38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s/slide17.xml" ContentType="application/vnd.openxmlformats-officedocument.presentationml.slide+xml"/>
  <Override PartName="/ppt/slideLayouts/slideLayout116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63.xml" ContentType="application/vnd.openxmlformats-officedocument.presentationml.slideLayout+xml"/>
  <Override PartName="/ppt/tags/tag3.xml" ContentType="application/vnd.openxmlformats-officedocument.presentationml.tags+xml"/>
  <Override PartName="/ppt/slideLayouts/slideLayout302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611.xml" ContentType="application/vnd.openxmlformats-officedocument.presentationml.slideLayout+xml"/>
  <Override PartName="/ppt/tags/tag55.xml" ContentType="application/vnd.openxmlformats-officedocument.presentationml.tags+xml"/>
  <Override PartName="/ppt/slideLayouts/slideLayout387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50.xml" ContentType="application/vnd.openxmlformats-officedocument.presentationml.slideLayout+xml"/>
  <Override PartName="/ppt/tags/tag33.xml" ContentType="application/vnd.openxmlformats-officedocument.presentationml.tags+xml"/>
  <Override PartName="/ppt/slideLayouts/slideLayout734.xml" ContentType="application/vnd.openxmlformats-officedocument.presentationml.slideLayout+xml"/>
  <Override PartName="/ppt/notesSlides/notesSlide11.xml" ContentType="application/vnd.openxmlformats-officedocument.presentationml.notesSlide+xml"/>
  <Override PartName="/ppt/slideLayouts/slideLayout179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s/slide8.xml" ContentType="application/vnd.openxmlformats-officedocument.presentationml.slide+xml"/>
  <Override PartName="/ppt/slideLayouts/slideLayout79.xml" ContentType="application/vnd.openxmlformats-officedocument.presentationml.slideLayout+xml"/>
  <Override PartName="/ppt/tags/tag11.xml" ContentType="application/vnd.openxmlformats-officedocument.presentationml.tags+xml"/>
  <Override PartName="/ppt/slideLayouts/slideLayout220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Masters/slideMaster3.xml" ContentType="application/vnd.openxmlformats-officedocument.presentationml.slideMaster+xml"/>
  <Override PartName="/ppt/slideLayouts/slideLayout57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48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135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52.xml" ContentType="application/vnd.openxmlformats-officedocument.presentationml.slideLayout+xml"/>
  <Override PartName="/ppt/tags/tag49.xml" ContentType="application/vnd.openxmlformats-officedocument.presentationml.tag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728.xml" ContentType="application/vnd.openxmlformats-officedocument.presentationml.slideLayout+xml"/>
  <Override PartName="/ppt/tableStyles.xml" ContentType="application/vnd.openxmlformats-officedocument.presentationml.tableStyles+xml"/>
  <Override PartName="/ppt/slideLayouts/slideLayout236.xml" ContentType="application/vnd.openxmlformats-officedocument.presentationml.slideLayout+xml"/>
  <Override PartName="/ppt/slideLayouts/slideLayout283.xml" ContentType="application/vnd.openxmlformats-officedocument.presentationml.slideLayout+xml"/>
  <Override PartName="/ppt/tags/tag27.xml" ContentType="application/vnd.openxmlformats-officedocument.presentationml.tags+xml"/>
  <Override PartName="/ppt/slideLayouts/slideLayout567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706.xml" ContentType="application/vnd.openxmlformats-officedocument.presentationml.slideLayout+xml"/>
  <Override PartName="/ppt/tags/tag52.xml" ContentType="application/vnd.openxmlformats-officedocument.presentationml.tags+xml"/>
  <Override PartName="/ppt/slideLayouts/slideLayout198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84.xml" ContentType="application/vnd.openxmlformats-officedocument.presentationml.slideLayout+xml"/>
  <Override PartName="/ppt/tags/tag30.xml" ContentType="application/vnd.openxmlformats-officedocument.presentationml.tags+xml"/>
  <Override PartName="/ppt/slideLayouts/slideLayout523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71.xml" ContentType="application/vnd.openxmlformats-officedocument.presentationml.slideLayout+xml"/>
  <Override PartName="/ppt/presentation.xml" ContentType="application/vnd.openxmlformats-officedocument.presentationml.presentation.main+xml"/>
  <Override PartName="/ppt/slideLayouts/slideLayout32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602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10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86.xml" ContentType="application/vnd.openxmlformats-officedocument.presentationml.slideLayout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80.xml" ContentType="application/vnd.openxmlformats-officedocument.presentationml.slideLayout+xml"/>
  <Override PartName="/ppt/tags/tag24.xml" ContentType="application/vnd.openxmlformats-officedocument.presentationml.tags+xml"/>
  <Override PartName="/ppt/slideLayouts/slideLayout378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56.xml" ContentType="application/vnd.openxmlformats-officedocument.presentationml.slideLayout+xml"/>
  <Override PartName="/ppt/theme/theme7.xml" ContentType="application/vnd.openxmlformats-officedocument.theme+xml"/>
  <Override PartName="/ppt/slideLayouts/slideLayout542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s/slide2.xml" ContentType="application/vnd.openxmlformats-officedocument.presentationml.slide+xml"/>
  <Override PartName="/ppt/slideLayouts/slideLayout26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90.xml" ContentType="application/vnd.openxmlformats-officedocument.presentationml.slideLayout+xml"/>
  <Override PartName="/ppt/notesSlides/notesSlide18.xml" ContentType="application/vnd.openxmlformats-officedocument.presentationml.notesSlide+xml"/>
  <Override PartName="/ppt/slideLayouts/slideLayout51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227.xml" ContentType="application/vnd.openxmlformats-officedocument.presentationml.slideLayout+xml"/>
  <Override PartName="/ppt/tags/tag18.xml" ContentType="application/vnd.openxmlformats-officedocument.presentationml.tags+xml"/>
  <Override PartName="/ppt/slideLayouts/slideLayout274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397.xml" ContentType="application/vnd.openxmlformats-officedocument.presentationml.slideLayout+xml"/>
  <Override PartName="/ppt/tags/tag43.xml" ContentType="application/vnd.openxmlformats-officedocument.presentationml.tags+xml"/>
  <Override PartName="/ppt/notesSlides/notesSlide9.xml" ContentType="application/vnd.openxmlformats-officedocument.presentationml.notesSlide+xml"/>
  <Override PartName="/ppt/slideLayouts/slideLayout89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722.xml" ContentType="application/vnd.openxmlformats-officedocument.presentationml.slideLayout+xml"/>
  <Override PartName="/ppt/theme/theme12.xml" ContentType="application/vnd.openxmlformats-officedocument.theme+xml"/>
  <Override PartName="/ppt/slideLayouts/slideLayout230.xml" ContentType="application/vnd.openxmlformats-officedocument.presentationml.slideLayout+xml"/>
  <Override PartName="/ppt/tags/tag21.xml" ContentType="application/vnd.openxmlformats-officedocument.presentationml.tags+xml"/>
  <Override PartName="/ppt/slideLayouts/slideLayout328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7.xml" ContentType="application/vnd.openxmlformats-officedocument.presentationml.slideLayout+xml"/>
  <Override PartName="/ppt/tags/tag7.xml" ContentType="application/vnd.openxmlformats-officedocument.presentationml.tags+xml"/>
  <Override PartName="/ppt/slideLayouts/slideLayout167.xml" ContentType="application/vnd.openxmlformats-officedocument.presentationml.slideLayout+xml"/>
  <Override PartName="/ppt/theme/theme4.xml" ContentType="application/vnd.openxmlformats-officedocument.theme+xml"/>
  <Override PartName="/ppt/slideLayouts/slideLayout306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62.xml" ContentType="application/vnd.openxmlformats-officedocument.presentationml.slideLayout+xml"/>
  <Override PartName="/ppt/tags/tag59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54.xml" ContentType="application/vnd.openxmlformats-officedocument.presentationml.slideLayout+xml"/>
  <Override PartName="/ppt/tags/tag37.xml" ContentType="application/vnd.openxmlformats-officedocument.presentationml.tags+xml"/>
  <Override PartName="/ppt/slideLayouts/slideLayout640.xml" ContentType="application/vnd.openxmlformats-officedocument.presentationml.slideLayout+xml"/>
  <Override PartName="/ppt/notesSlides/notesSlide15.xml" ContentType="application/vnd.openxmlformats-officedocument.presentationml.notesSlide+xml"/>
  <Override PartName="/ppt/slideLayouts/slideLayout101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716.xml" ContentType="application/vnd.openxmlformats-officedocument.presentationml.slideLayout+xml"/>
  <Override PartName="/ppt/tags/tag15.xml" ContentType="application/vnd.openxmlformats-officedocument.presentationml.tags+xml"/>
  <Override PartName="/ppt/slideLayouts/slideLayout224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55.xml" ContentType="application/vnd.openxmlformats-officedocument.presentationml.slideLayout+xml"/>
  <Override PartName="/ppt/tags/tag62.xml" ContentType="application/vnd.openxmlformats-officedocument.presentationml.tags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Layouts/slideLayout347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410.xml" ContentType="application/vnd.openxmlformats-officedocument.presentationml.slideLayout+xml"/>
  <Override PartName="/ppt/tags/tag40.xml" ContentType="application/vnd.openxmlformats-officedocument.presentationml.tags+xml"/>
  <Override PartName="/ppt/notesSlides/notesSlide6.xml" ContentType="application/vnd.openxmlformats-officedocument.presentationml.notesSlide+xml"/>
  <Override PartName="/ppt/slideLayouts/slideLayout139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s/slide18.xml" ContentType="application/vnd.openxmlformats-officedocument.presentationml.slide+xml"/>
  <Override PartName="/ppt/slideLayouts/slideLayout17.xml" ContentType="application/vnd.openxmlformats-officedocument.presentationml.slideLayout+xml"/>
  <Override PartName="/ppt/slideLayouts/slideLayout64.xml" ContentType="application/vnd.openxmlformats-officedocument.presentationml.slideLayout+xml"/>
  <Override PartName="/ppt/tags/tag4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511.xml" ContentType="application/vnd.openxmlformats-officedocument.presentationml.slideLayout+xml"/>
  <Override PartName="/ppt/theme/theme1.xml" ContentType="application/vnd.openxmlformats-officedocument.theme+xml"/>
  <Override PartName="/ppt/slideLayouts/slideLayout142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612.xml" ContentType="application/vnd.openxmlformats-officedocument.presentationml.slideLayout+xml"/>
  <Override PartName="/ppt/tags/tag56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388.xml" ContentType="application/vnd.openxmlformats-officedocument.presentationml.slideLayout+xml"/>
  <Override PartName="/ppt/tags/tag34.xml" ContentType="application/vnd.openxmlformats-officedocument.presentationml.tags+xml"/>
  <Override PartName="/ppt/slideLayouts/slideLayout527.xml" ContentType="application/vnd.openxmlformats-officedocument.presentationml.slideLayout+xml"/>
  <Override PartName="/ppt/slideLayouts/slideLayout574.xml" ContentType="application/vnd.openxmlformats-officedocument.presentationml.slideLayout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slideLayouts/slideLayout319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158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75.xml" ContentType="application/vnd.openxmlformats-officedocument.presentationml.slideLayout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s/slide15.xml" ContentType="application/vnd.openxmlformats-officedocument.presentationml.slide+xml"/>
  <Override PartName="/ppt/slideLayouts/slideLayout114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1.xml" ContentType="application/vnd.openxmlformats-officedocument.presentationml.tags+xml"/>
  <Override PartName="/ppt/slideLayouts/slideLayout300.xml" ContentType="application/vnd.openxmlformats-officedocument.presentationml.slideLayout+xml"/>
  <Override PartName="/ppt/tags/tag28.xml" ContentType="application/vnd.openxmlformats-officedocument.presentationml.tags+xml"/>
  <Override PartName="/ppt/slideLayouts/slideLayout445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707.xml" ContentType="application/vnd.openxmlformats-officedocument.presentationml.slideLayout+xml"/>
  <Default Extension="vml" ContentType="application/vnd.openxmlformats-officedocument.vmlDrawing"/>
  <Override PartName="/ppt/slideLayouts/slideLayout215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93.xml" ContentType="application/vnd.openxmlformats-officedocument.presentationml.slideLayout+xml"/>
  <Override PartName="/ppt/tags/tag53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85.xml" ContentType="application/vnd.openxmlformats-officedocument.presentationml.slideLayout+xml"/>
  <Override PartName="/ppt/tags/tag31.xml" ContentType="application/vnd.openxmlformats-officedocument.presentationml.tags+xml"/>
  <Override PartName="/ppt/slideLayouts/slideLayout401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710.xml" ContentType="application/vnd.openxmlformats-officedocument.presentationml.slideLayou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55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64.xml" ContentType="application/vnd.openxmlformats-officedocument.presentationml.slideLayout+xml"/>
  <Default Extension="rels" ContentType="application/vnd.openxmlformats-package.relationships+xml"/>
  <Override PartName="/ppt/slideLayouts/slideLayout33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50.xml" ContentType="application/vnd.openxmlformats-officedocument.presentationml.slideLayout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81.xml" ContentType="application/vnd.openxmlformats-officedocument.presentationml.slideLayout+xml"/>
  <Override PartName="/ppt/tags/tag25.xml" ContentType="application/vnd.openxmlformats-officedocument.presentationml.tags+xml"/>
  <Override PartName="/ppt/slideLayouts/slideLayout379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420.xml" ContentType="application/vnd.openxmlformats-officedocument.presentationml.slideLayout+xml"/>
  <Override PartName="/ppt/theme/theme8.xml" ContentType="application/vnd.openxmlformats-officedocument.theme+xml"/>
  <Override PartName="/ppt/tags/tag50.xml" ContentType="application/vnd.openxmlformats-officedocument.presentationml.tags+xml"/>
  <Override PartName="/ppt/slideLayouts/slideLayout688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91.xml" ContentType="application/vnd.openxmlformats-officedocument.presentationml.slideLayout+xml"/>
  <Override PartName="/ppt/notesSlides/notesSlide19.xml" ContentType="application/vnd.openxmlformats-officedocument.presentationml.notesSlide+xml"/>
  <Default Extension="jpeg" ContentType="image/jpeg"/>
  <Override PartName="/ppt/slideLayouts/slideLayout105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228.xml" ContentType="application/vnd.openxmlformats-officedocument.presentationml.slideLayout+xml"/>
  <Override PartName="/ppt/tags/tag19.xml" ContentType="application/vnd.openxmlformats-officedocument.presentationml.tags+xml"/>
  <Override PartName="/ppt/slideLayouts/slideLayout275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84.xml" ContentType="application/vnd.openxmlformats-officedocument.presentationml.slideLayout+xml"/>
  <Override PartName="/ppt/tags/tag44.xml" ContentType="application/vnd.openxmlformats-officedocument.presentationml.tags+xml"/>
  <Override PartName="/ppt/slideLayouts/slideLayout231.xml" ContentType="application/vnd.openxmlformats-officedocument.presentationml.slideLayout+xml"/>
  <Override PartName="/ppt/tags/tag22.xml" ContentType="application/vnd.openxmlformats-officedocument.presentationml.tags+xml"/>
  <Override PartName="/ppt/slideLayouts/slideLayout329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723.xml" ContentType="application/vnd.openxmlformats-officedocument.presentationml.slideLayout+xml"/>
  <Override PartName="/ppt/theme/theme13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701.xml" ContentType="application/vnd.openxmlformats-officedocument.presentationml.slideLayout+xml"/>
  <Override PartName="/ppt/theme/theme5.xml" ContentType="application/vnd.openxmlformats-officedocument.theme+xml"/>
  <Override PartName="/ppt/slideLayouts/slideLayout354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tags/tag16.xml" ContentType="application/vnd.openxmlformats-officedocument.presentationml.tags+xml"/>
  <Override PartName="/ppt/slideLayouts/slideLayout480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Masters/slideMaster8.xml" ContentType="application/vnd.openxmlformats-officedocument.presentationml.slideMaster+xml"/>
  <Override PartName="/ppt/slideLayouts/slideLayout225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395.xml" ContentType="application/vnd.openxmlformats-officedocument.presentationml.slideLayout+xml"/>
  <Override PartName="/ppt/tags/tag41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581.xml" ContentType="application/vnd.openxmlformats-officedocument.presentationml.slideLayout+xml"/>
  <Override PartName="/ppt/theme/theme10.xml" ContentType="application/vnd.openxmlformats-officedocument.theme+xml"/>
  <Override PartName="/ppt/slides/slide19.xml" ContentType="application/vnd.openxmlformats-officedocument.presentationml.slide+xml"/>
  <Override PartName="/ppt/slideLayouts/slideLayout165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351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427.xml" ContentType="application/vnd.openxmlformats-officedocument.presentationml.slideLayout+xml"/>
  <Default Extension="emf" ContentType="image/x-emf"/>
  <Override PartName="/ppt/slideLayouts/slideLayout26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613.xml" ContentType="application/vnd.openxmlformats-officedocument.presentationml.slideLayout+xml"/>
  <Override PartName="/ppt/tags/tag57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714.xml" ContentType="application/vnd.openxmlformats-officedocument.presentationml.slideLayout+xml"/>
  <Override PartName="/ppt/tags/tag13.xml" ContentType="application/vnd.openxmlformats-officedocument.presentationml.tags+xml"/>
  <Override PartName="/ppt/slideLayouts/slideLayout222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493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1"/>
    <p:sldMasterId id="2147483728" r:id="rId2"/>
    <p:sldMasterId id="2147483795" r:id="rId3"/>
    <p:sldMasterId id="2147483863" r:id="rId4"/>
    <p:sldMasterId id="2147483964" r:id="rId5"/>
    <p:sldMasterId id="2147484030" r:id="rId6"/>
    <p:sldMasterId id="2147484169" r:id="rId7"/>
    <p:sldMasterId id="2147484265" r:id="rId8"/>
    <p:sldMasterId id="2147484352" r:id="rId9"/>
    <p:sldMasterId id="2147484422" r:id="rId10"/>
    <p:sldMasterId id="2147484492" r:id="rId11"/>
  </p:sldMasterIdLst>
  <p:notesMasterIdLst>
    <p:notesMasterId r:id="rId31"/>
  </p:notesMasterIdLst>
  <p:handoutMasterIdLst>
    <p:handoutMasterId r:id="rId32"/>
  </p:handoutMasterIdLst>
  <p:sldIdLst>
    <p:sldId id="623" r:id="rId12"/>
    <p:sldId id="607" r:id="rId13"/>
    <p:sldId id="628" r:id="rId14"/>
    <p:sldId id="601" r:id="rId15"/>
    <p:sldId id="602" r:id="rId16"/>
    <p:sldId id="657" r:id="rId17"/>
    <p:sldId id="626" r:id="rId18"/>
    <p:sldId id="654" r:id="rId19"/>
    <p:sldId id="658" r:id="rId20"/>
    <p:sldId id="655" r:id="rId21"/>
    <p:sldId id="642" r:id="rId22"/>
    <p:sldId id="652" r:id="rId23"/>
    <p:sldId id="605" r:id="rId24"/>
    <p:sldId id="649" r:id="rId25"/>
    <p:sldId id="632" r:id="rId26"/>
    <p:sldId id="611" r:id="rId27"/>
    <p:sldId id="659" r:id="rId28"/>
    <p:sldId id="600" r:id="rId29"/>
    <p:sldId id="610" r:id="rId30"/>
  </p:sldIdLst>
  <p:sldSz cx="9144000" cy="6858000" type="screen4x3"/>
  <p:notesSz cx="6797675" cy="9926638"/>
  <p:defaultTextStyle>
    <a:defPPr>
      <a:defRPr lang="pt-BR"/>
    </a:defPPr>
    <a:lvl1pPr marL="0" algn="l" defTabSz="91407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35" algn="l" defTabSz="91407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070" algn="l" defTabSz="91407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105" algn="l" defTabSz="91407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141" algn="l" defTabSz="91407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176" algn="l" defTabSz="91407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213" algn="l" defTabSz="91407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248" algn="l" defTabSz="91407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283" algn="l" defTabSz="91407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Ursula Luciana Angeli" initials="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008791"/>
    <a:srgbClr val="BDD393"/>
    <a:srgbClr val="FFA514"/>
    <a:srgbClr val="F56432"/>
    <a:srgbClr val="C6DE89"/>
    <a:srgbClr val="800000"/>
    <a:srgbClr val="DDDDDD"/>
    <a:srgbClr val="333333"/>
    <a:srgbClr val="EAEAEA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535" autoAdjust="0"/>
    <p:restoredTop sz="93889" autoAdjust="0"/>
  </p:normalViewPr>
  <p:slideViewPr>
    <p:cSldViewPr>
      <p:cViewPr varScale="1">
        <p:scale>
          <a:sx n="68" d="100"/>
          <a:sy n="68" d="100"/>
        </p:scale>
        <p:origin x="-570" y="-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302"/>
    </p:cViewPr>
  </p:sorterViewPr>
  <p:notesViewPr>
    <p:cSldViewPr>
      <p:cViewPr varScale="1">
        <p:scale>
          <a:sx n="55" d="100"/>
          <a:sy n="55" d="100"/>
        </p:scale>
        <p:origin x="-2634" y="-90"/>
      </p:cViewPr>
      <p:guideLst>
        <p:guide orient="horz" pos="3127"/>
        <p:guide pos="2142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0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3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8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viewProps" Target="viewProps.xml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275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49862" y="0"/>
            <a:ext cx="2946275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DEF284-80D7-4DB4-890E-122427139EDA}" type="datetimeFigureOut">
              <a:rPr lang="pt-BR" smtClean="0"/>
              <a:pPr/>
              <a:t>04/08/2015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428272"/>
            <a:ext cx="2946275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49862" y="9428272"/>
            <a:ext cx="2946275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0C900B-6644-4FE9-8C2F-C564166B8317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783" tIns="45891" rIns="91783" bIns="45891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783" tIns="45891" rIns="91783" bIns="45891" rtlCol="0"/>
          <a:lstStyle>
            <a:lvl1pPr algn="r">
              <a:defRPr sz="1200"/>
            </a:lvl1pPr>
          </a:lstStyle>
          <a:p>
            <a:fld id="{B7DDD998-8EF9-4FAF-B4E1-6FE96FB74480}" type="datetimeFigureOut">
              <a:rPr lang="pt-BR" smtClean="0"/>
              <a:pPr/>
              <a:t>04/08/201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4538"/>
            <a:ext cx="4960937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83" tIns="45891" rIns="91783" bIns="45891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783" tIns="45891" rIns="91783" bIns="45891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1783" tIns="45891" rIns="91783" bIns="45891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1783" tIns="45891" rIns="91783" bIns="45891" rtlCol="0" anchor="b"/>
          <a:lstStyle>
            <a:lvl1pPr algn="r">
              <a:defRPr sz="1200"/>
            </a:lvl1pPr>
          </a:lstStyle>
          <a:p>
            <a:fld id="{43F8FBC1-5EBA-4E8E-AFE4-C6B66FF6A2BE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07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35" algn="l" defTabSz="91407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070" algn="l" defTabSz="91407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105" algn="l" defTabSz="91407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141" algn="l" defTabSz="91407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176" algn="l" defTabSz="91407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213" algn="l" defTabSz="91407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248" algn="l" defTabSz="91407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283" algn="l" defTabSz="91407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8FBC1-5EBA-4E8E-AFE4-C6B66FF6A2BE}" type="slidenum">
              <a:rPr lang="pt-BR" smtClean="0"/>
              <a:pPr/>
              <a:t>1</a:t>
            </a:fld>
            <a:endParaRPr lang="pt-BR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8FBC1-5EBA-4E8E-AFE4-C6B66FF6A2BE}" type="slidenum">
              <a:rPr lang="pt-BR" smtClean="0"/>
              <a:pPr/>
              <a:t>10</a:t>
            </a:fld>
            <a:endParaRPr lang="pt-BR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À exemplo do nosso modelo de parceria com a UFSC</a:t>
            </a:r>
            <a:r>
              <a:rPr lang="pt-BR" baseline="0" dirty="0" smtClean="0"/>
              <a:t> onde direcionamos as linhas de pesquisa da Universidade para a solução de problemas práticos da nossa indústria, a formação </a:t>
            </a:r>
            <a:r>
              <a:rPr lang="pt-BR" baseline="0" dirty="0" err="1" smtClean="0"/>
              <a:t>academica</a:t>
            </a:r>
            <a:r>
              <a:rPr lang="pt-BR" baseline="0" dirty="0" smtClean="0"/>
              <a:t> também deveria ter um foco mais prático. Começando da observação e identificação de problemas reais e relevantes, e esses, utilizando métodos de solução de problemas, definem quais ferramentas (ou disciplinas) devem ser estudadas e aprendidas para resolver os problemas</a:t>
            </a:r>
          </a:p>
          <a:p>
            <a:r>
              <a:rPr lang="pt-BR" baseline="0" dirty="0" smtClean="0"/>
              <a:t>O modelo atual dá foco maior nas ferramentas (que potencializam o raciocínio lógico), mas com pouco foco em onde usá-la.</a:t>
            </a:r>
          </a:p>
          <a:p>
            <a:endParaRPr lang="pt-BR" baseline="0" dirty="0" smtClean="0"/>
          </a:p>
          <a:p>
            <a:r>
              <a:rPr lang="pt-BR" baseline="0" dirty="0" smtClean="0"/>
              <a:t>Analogia:  Seria o mesmo que equipar muito bem um soldado e colocá-lo num campo de batalha. Faltando um conhecimento mais profundo da estratégia de guerra ou do campo de batalha.</a:t>
            </a:r>
          </a:p>
          <a:p>
            <a:r>
              <a:rPr lang="pt-BR" baseline="0" dirty="0" smtClean="0"/>
              <a:t>Analogia:  O programa 6 Sigma por exemplo, aproximou a ESTATISTICA da PRATICA com os METODOS DE SOLUÇÃO DE PROBLEMAS.</a:t>
            </a:r>
          </a:p>
          <a:p>
            <a:endParaRPr lang="pt-BR" baseline="0" dirty="0" smtClean="0"/>
          </a:p>
          <a:p>
            <a:r>
              <a:rPr lang="pt-BR" baseline="0" dirty="0" smtClean="0"/>
              <a:t>Na proposta de novo modelo, parte-se de necessidades práticas do cotidiano, desenvolvendo o potencial do aluno em IDENTIFICAR e CONHECER os problemas e oportunidades na sua área de atuação. Com isso o processo de aprendizado seria otimizado , aumentando a motivação dos alunos e estimulando professores na busca de desafios.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8FBC1-5EBA-4E8E-AFE4-C6B66FF6A2BE}" type="slidenum">
              <a:rPr lang="pt-BR" smtClean="0"/>
              <a:pPr/>
              <a:t>11</a:t>
            </a:fld>
            <a:endParaRPr lang="pt-BR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Como exemplo, o </a:t>
            </a:r>
            <a:r>
              <a:rPr lang="pt-BR" dirty="0" err="1" smtClean="0"/>
              <a:t>Olin</a:t>
            </a:r>
            <a:r>
              <a:rPr lang="pt-BR" dirty="0" smtClean="0"/>
              <a:t> </a:t>
            </a:r>
            <a:r>
              <a:rPr lang="pt-BR" dirty="0" err="1" smtClean="0"/>
              <a:t>College</a:t>
            </a:r>
            <a:r>
              <a:rPr lang="pt-BR" dirty="0" smtClean="0"/>
              <a:t> foi criado porque acreditam que há formas diferentes de preparar inovadores em engenharia e hoje vêem um problema importante na forma de ensinar engenharia: estudantes não aprendem</a:t>
            </a:r>
            <a:r>
              <a:rPr lang="pt-BR" baseline="0" dirty="0" smtClean="0"/>
              <a:t> a identificar os problemas relevantes, ao invés disso, gastam semestres e anos com disciplinas de base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8FBC1-5EBA-4E8E-AFE4-C6B66FF6A2BE}" type="slidenum">
              <a:rPr lang="pt-BR" smtClean="0"/>
              <a:pPr/>
              <a:t>12</a:t>
            </a:fld>
            <a:endParaRPr lang="pt-BR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pt-BR" dirty="0" smtClean="0"/>
              <a:t>Disciplinas</a:t>
            </a:r>
            <a:r>
              <a:rPr lang="pt-BR" baseline="0" dirty="0" smtClean="0"/>
              <a:t> obrigatórias são extremamente importantes para dar consistência à formação inicial do aluno, organizando o modelo mental, capacidade analítica </a:t>
            </a:r>
            <a:r>
              <a:rPr lang="pt-BR" baseline="0" dirty="0" err="1" smtClean="0"/>
              <a:t>etc</a:t>
            </a:r>
            <a:r>
              <a:rPr lang="pt-BR" baseline="0" dirty="0" smtClean="0"/>
              <a:t> mas um currículo muito engessado vai restringir as oportunidades de adaptação e preparação do aluno para desafios profissionais em constante mudança. Uma eventual redução na carga de disciplinas obrigatórias, mantendo outras disciplinas em alternativas mais “modernas” de aprendizado e fonte de pesquisa (aulas virtuais, grupos de estudo </a:t>
            </a:r>
            <a:r>
              <a:rPr lang="pt-BR" baseline="0" dirty="0" err="1" smtClean="0"/>
              <a:t>etc</a:t>
            </a:r>
            <a:r>
              <a:rPr lang="pt-BR" baseline="0" dirty="0" smtClean="0"/>
              <a:t>) poderia ser uma alternativa.</a:t>
            </a:r>
          </a:p>
          <a:p>
            <a:r>
              <a:rPr lang="pt-BR" dirty="0" smtClean="0"/>
              <a:t>Uma oferta maior de disciplinas optativas livres, ainda com foco em complementar formação da engenharia, podem dar mais flexibilidade à formação,</a:t>
            </a:r>
            <a:r>
              <a:rPr lang="pt-BR" baseline="0" dirty="0" smtClean="0"/>
              <a:t> permitindo ao aluno se aprofundar em indústrias específicas (metal mecânica, naval, petróleo </a:t>
            </a:r>
            <a:r>
              <a:rPr lang="pt-BR" baseline="0" dirty="0" err="1" smtClean="0"/>
              <a:t>etc</a:t>
            </a:r>
            <a:r>
              <a:rPr lang="pt-BR" baseline="0" dirty="0" smtClean="0"/>
              <a:t>) ou mesmo em assuntos determinados (saúde e segurança, impacto ambiental, transporte </a:t>
            </a:r>
            <a:r>
              <a:rPr lang="pt-BR" baseline="0" dirty="0" err="1" smtClean="0"/>
              <a:t>etc</a:t>
            </a:r>
            <a:r>
              <a:rPr lang="pt-BR" baseline="0" dirty="0" smtClean="0"/>
              <a:t>) garantem ao profissional alternativas de aprendizado e aplicação das disciplinas básicas com foco na solução de problemas reais e relevantes da sociedade</a:t>
            </a:r>
          </a:p>
          <a:p>
            <a:r>
              <a:rPr lang="pt-BR" baseline="0" dirty="0" smtClean="0"/>
              <a:t>Finalmente, inclusão de algumas disciplinas hoje consideradas Eletivas em alguns currículos nacionais, poderiam trazer uma visão holística melhor ao profissional, garantindo sua melhor preparação para desafios diferentes e empregabilidade</a:t>
            </a:r>
          </a:p>
          <a:p>
            <a:endParaRPr lang="pt-BR" baseline="0" dirty="0" smtClean="0"/>
          </a:p>
          <a:p>
            <a:pPr marL="338138" fontAlgn="base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tabLst>
                <a:tab pos="908050" algn="l"/>
                <a:tab pos="1822450" algn="l"/>
                <a:tab pos="2736850" algn="l"/>
                <a:tab pos="3651250" algn="l"/>
                <a:tab pos="4565650" algn="l"/>
                <a:tab pos="5480050" algn="l"/>
                <a:tab pos="6394450" algn="l"/>
                <a:tab pos="7308850" algn="l"/>
                <a:tab pos="8223250" algn="l"/>
                <a:tab pos="9137650" algn="l"/>
                <a:tab pos="10052050" algn="l"/>
              </a:tabLst>
              <a:defRPr/>
            </a:pPr>
            <a:r>
              <a:rPr lang="en-GB" sz="1600" kern="0" dirty="0" err="1" smtClean="0">
                <a:solidFill>
                  <a:srgbClr val="FFA514"/>
                </a:solidFill>
                <a:latin typeface="Tahoma" pitchFamily="34" charset="0"/>
                <a:cs typeface="Tahoma" pitchFamily="34" charset="0"/>
              </a:rPr>
              <a:t>Caracter</a:t>
            </a:r>
            <a:r>
              <a:rPr lang="en-GB" sz="1600" kern="0" dirty="0" err="1" smtClean="0">
                <a:solidFill>
                  <a:srgbClr val="FFA514"/>
                </a:solidFill>
                <a:latin typeface="Arial"/>
                <a:cs typeface="Arial"/>
              </a:rPr>
              <a:t>ísticas</a:t>
            </a:r>
            <a:r>
              <a:rPr lang="en-GB" sz="1600" kern="0" dirty="0" smtClean="0">
                <a:solidFill>
                  <a:srgbClr val="FFA514"/>
                </a:solidFill>
                <a:latin typeface="Arial"/>
                <a:cs typeface="Arial"/>
              </a:rPr>
              <a:t> </a:t>
            </a:r>
            <a:r>
              <a:rPr lang="en-GB" sz="1600" kern="0" dirty="0" err="1" smtClean="0">
                <a:solidFill>
                  <a:srgbClr val="FFA514"/>
                </a:solidFill>
                <a:latin typeface="Tahoma" pitchFamily="34" charset="0"/>
                <a:cs typeface="Tahoma" pitchFamily="34" charset="0"/>
              </a:rPr>
              <a:t>desej</a:t>
            </a:r>
            <a:r>
              <a:rPr lang="en-GB" sz="1600" kern="0" dirty="0" err="1" smtClean="0">
                <a:solidFill>
                  <a:srgbClr val="FFA514"/>
                </a:solidFill>
                <a:latin typeface="Arial"/>
                <a:cs typeface="Arial"/>
              </a:rPr>
              <a:t>áveis</a:t>
            </a:r>
            <a:endParaRPr lang="en-GB" sz="1600" kern="0" dirty="0" smtClean="0">
              <a:solidFill>
                <a:srgbClr val="FFA514"/>
              </a:solidFill>
              <a:latin typeface="Tahoma" pitchFamily="34" charset="0"/>
              <a:cs typeface="Tahoma" pitchFamily="34" charset="0"/>
            </a:endParaRPr>
          </a:p>
          <a:p>
            <a:pPr marL="338138" fontAlgn="base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908050" algn="l"/>
                <a:tab pos="1822450" algn="l"/>
                <a:tab pos="2736850" algn="l"/>
                <a:tab pos="3651250" algn="l"/>
                <a:tab pos="4565650" algn="l"/>
                <a:tab pos="5480050" algn="l"/>
                <a:tab pos="6394450" algn="l"/>
                <a:tab pos="7308850" algn="l"/>
                <a:tab pos="8223250" algn="l"/>
                <a:tab pos="9137650" algn="l"/>
                <a:tab pos="10052050" algn="l"/>
              </a:tabLst>
              <a:defRPr/>
            </a:pPr>
            <a:endParaRPr lang="en-US" kern="0" dirty="0" smtClean="0">
              <a:solidFill>
                <a:srgbClr val="595959"/>
              </a:solidFill>
              <a:latin typeface="Tahoma" pitchFamily="34" charset="0"/>
              <a:cs typeface="Tahoma" pitchFamily="34" charset="0"/>
            </a:endParaRPr>
          </a:p>
          <a:p>
            <a:pPr marL="338138" fontAlgn="base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908050" algn="l"/>
                <a:tab pos="1822450" algn="l"/>
                <a:tab pos="2736850" algn="l"/>
                <a:tab pos="3651250" algn="l"/>
                <a:tab pos="4565650" algn="l"/>
                <a:tab pos="5480050" algn="l"/>
                <a:tab pos="6394450" algn="l"/>
                <a:tab pos="7308850" algn="l"/>
                <a:tab pos="8223250" algn="l"/>
                <a:tab pos="9137650" algn="l"/>
                <a:tab pos="10052050" algn="l"/>
              </a:tabLst>
              <a:defRPr/>
            </a:pPr>
            <a:r>
              <a:rPr lang="en-US" kern="0" dirty="0" smtClean="0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Diversifica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çã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na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formaçã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optativa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,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definind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área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de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especializaçã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adicionai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as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existente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,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potencialmente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aumentand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a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interdisciplinaridade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com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outro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curso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(p. ex.,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bioengenharia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,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eletromecânica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)</a:t>
            </a:r>
          </a:p>
          <a:p>
            <a:pPr marL="338138" fontAlgn="base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908050" algn="l"/>
                <a:tab pos="1822450" algn="l"/>
                <a:tab pos="2736850" algn="l"/>
                <a:tab pos="3651250" algn="l"/>
                <a:tab pos="4565650" algn="l"/>
                <a:tab pos="5480050" algn="l"/>
                <a:tab pos="6394450" algn="l"/>
                <a:tab pos="7308850" algn="l"/>
                <a:tab pos="8223250" algn="l"/>
                <a:tab pos="9137650" algn="l"/>
                <a:tab pos="10052050" algn="l"/>
              </a:tabLst>
              <a:defRPr/>
            </a:pP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Diversificaçã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curricular: p. ex.,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formaçã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diferenciada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para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as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área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de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modelament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/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experimentaçã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/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computaçã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,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projet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/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produt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/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manufatura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,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controle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/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instrumentaçã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/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robótica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</a:p>
          <a:p>
            <a:pPr marL="338138" fontAlgn="base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908050" algn="l"/>
                <a:tab pos="1822450" algn="l"/>
                <a:tab pos="2736850" algn="l"/>
                <a:tab pos="3651250" algn="l"/>
                <a:tab pos="4565650" algn="l"/>
                <a:tab pos="5480050" algn="l"/>
                <a:tab pos="6394450" algn="l"/>
                <a:tab pos="7308850" algn="l"/>
                <a:tab pos="8223250" algn="l"/>
                <a:tab pos="9137650" algn="l"/>
                <a:tab pos="10052050" algn="l"/>
              </a:tabLst>
              <a:defRPr/>
            </a:pP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Ênfase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na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bolsa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para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o exterior,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em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todo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o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nívei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,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em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área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definida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com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prioritária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no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planejament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estratégic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, com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foc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na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formaçã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de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pessoa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em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área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na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quai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o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paí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é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cientificamente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carente</a:t>
            </a:r>
            <a:endParaRPr lang="en-US" sz="1200" kern="0" dirty="0" smtClean="0">
              <a:solidFill>
                <a:srgbClr val="595959"/>
              </a:solidFill>
              <a:latin typeface="Arial"/>
              <a:cs typeface="Arial"/>
            </a:endParaRPr>
          </a:p>
          <a:p>
            <a:pPr marL="338138" fontAlgn="base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908050" algn="l"/>
                <a:tab pos="1822450" algn="l"/>
                <a:tab pos="2736850" algn="l"/>
                <a:tab pos="3651250" algn="l"/>
                <a:tab pos="4565650" algn="l"/>
                <a:tab pos="5480050" algn="l"/>
                <a:tab pos="6394450" algn="l"/>
                <a:tab pos="7308850" algn="l"/>
                <a:tab pos="8223250" algn="l"/>
                <a:tab pos="9137650" algn="l"/>
                <a:tab pos="10052050" algn="l"/>
              </a:tabLst>
              <a:defRPr/>
            </a:pP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Mecanismo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para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fomentar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que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as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empresa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desenvolvam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característica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de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formaçã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no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programa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de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estági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em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empresa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,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nã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tratand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o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estagiário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meramente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com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mã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de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obra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barata</a:t>
            </a:r>
            <a:endParaRPr lang="en-US" sz="1200" kern="0" dirty="0" smtClean="0">
              <a:solidFill>
                <a:srgbClr val="595959"/>
              </a:solidFill>
              <a:latin typeface="Arial"/>
              <a:cs typeface="Arial"/>
            </a:endParaRPr>
          </a:p>
          <a:p>
            <a:endParaRPr lang="pt-BR" baseline="0" dirty="0" smtClean="0"/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8FBC1-5EBA-4E8E-AFE4-C6B66FF6A2BE}" type="slidenum">
              <a:rPr lang="pt-BR" smtClean="0"/>
              <a:pPr/>
              <a:t>13</a:t>
            </a:fld>
            <a:endParaRPr lang="pt-BR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Importante</a:t>
            </a:r>
            <a:r>
              <a:rPr lang="pt-BR" baseline="0" dirty="0" smtClean="0"/>
              <a:t> de dar aos futuros profissionais uma visão melhor de negócios e finanças para que possam direcionar seu trabalho diariamente a ações que tenham mais relevância e impacto para a sociedade</a:t>
            </a:r>
          </a:p>
          <a:p>
            <a:r>
              <a:rPr lang="pt-BR" dirty="0" smtClean="0"/>
              <a:t>Seja em </a:t>
            </a:r>
            <a:r>
              <a:rPr lang="pt-BR" dirty="0" err="1" smtClean="0"/>
              <a:t>start-ups</a:t>
            </a:r>
            <a:r>
              <a:rPr lang="pt-BR" dirty="0" smtClean="0"/>
              <a:t> ou grandes empresas, temos necessidade cada vez</a:t>
            </a:r>
            <a:r>
              <a:rPr lang="pt-BR" baseline="0" dirty="0" smtClean="0"/>
              <a:t> maior de profissionais que façam mais com menos, que tragam soluções realmente novas, diferenciadas e que gerem grande valor para a sociedade e para as empresas. Esses são perfis empreendedores e inovadores para os quais os engenheiros tem normalmente todas as qualidades analíticas e quantitativas, mas lhes faltam as de negócios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8FBC1-5EBA-4E8E-AFE4-C6B66FF6A2BE}" type="slidenum">
              <a:rPr lang="pt-BR" smtClean="0"/>
              <a:pPr/>
              <a:t>14</a:t>
            </a:fld>
            <a:endParaRPr lang="pt-BR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  <p:sp>
        <p:nvSpPr>
          <p:cNvPr id="115716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39621" indent="-28447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37878" indent="-227576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593030" indent="-227576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48181" indent="-227576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03333" indent="-227576" defTabSz="90872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58484" indent="-227576" defTabSz="90872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13636" indent="-227576" defTabSz="90872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68787" indent="-227576" defTabSz="90872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08723" fontAlgn="base">
              <a:spcBef>
                <a:spcPct val="0"/>
              </a:spcBef>
              <a:spcAft>
                <a:spcPct val="0"/>
              </a:spcAft>
              <a:defRPr/>
            </a:pPr>
            <a:fld id="{881EFF43-CED2-49F3-844F-CABD2828BCB6}" type="slidenum">
              <a:rPr lang="en-US" smtClean="0"/>
              <a:pPr defTabSz="908723" fontAlgn="base">
                <a:spcBef>
                  <a:spcPct val="0"/>
                </a:spcBef>
                <a:spcAft>
                  <a:spcPct val="0"/>
                </a:spcAft>
                <a:defRPr/>
              </a:pPr>
              <a:t>15</a:t>
            </a:fld>
            <a:endParaRPr lang="en-US" dirty="0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As Universidades ainda tem estruturas de gestão que tornam muito complexo, lento e burocrático o processo de início e manutenção de parcerias e projetos entre Universidades e Empresas. Especialmente as pequenas empresas tem velocidade e agilidade</a:t>
            </a:r>
            <a:r>
              <a:rPr lang="pt-BR" baseline="0" dirty="0" smtClean="0"/>
              <a:t> para encontrar soluções “boas o suficiente” de formas alternativas e não tem recursos para investir nesse processo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8FBC1-5EBA-4E8E-AFE4-C6B66FF6A2BE}" type="slidenum">
              <a:rPr lang="pt-BR" smtClean="0"/>
              <a:pPr/>
              <a:t>16</a:t>
            </a:fld>
            <a:endParaRPr lang="pt-BR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No entanto, pelo histórico da Embraco de mais de 30 anos de parceria</a:t>
            </a:r>
            <a:r>
              <a:rPr lang="pt-BR" baseline="0" dirty="0" smtClean="0"/>
              <a:t> bem sucedida com universidades, especialmente com a UFSC, não poderíamos deixar de mencionar que não só é viável encontrar modelos que funcionem a contento, mas também o imenso valor potencial que existe nesse tipo de parceria, seus benefícios para ambos os lados. Se resolvidos os desafios, esse mesmo benefício pode ser replicado nacionalmente em todas as universidades e com todas as empresas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8FBC1-5EBA-4E8E-AFE4-C6B66FF6A2BE}" type="slidenum">
              <a:rPr lang="pt-BR" smtClean="0"/>
              <a:pPr/>
              <a:t>17</a:t>
            </a:fld>
            <a:endParaRPr lang="pt-BR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  <p:sp>
        <p:nvSpPr>
          <p:cNvPr id="115716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39621" indent="-28447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37878" indent="-227576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593030" indent="-227576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48181" indent="-227576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03333" indent="-227576" defTabSz="90872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58484" indent="-227576" defTabSz="90872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13636" indent="-227576" defTabSz="90872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68787" indent="-227576" defTabSz="90872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08723" fontAlgn="base">
              <a:spcBef>
                <a:spcPct val="0"/>
              </a:spcBef>
              <a:spcAft>
                <a:spcPct val="0"/>
              </a:spcAft>
              <a:defRPr/>
            </a:pPr>
            <a:fld id="{881EFF43-CED2-49F3-844F-CABD2828BCB6}" type="slidenum">
              <a:rPr lang="en-US" smtClean="0"/>
              <a:pPr defTabSz="908723" fontAlgn="base">
                <a:spcBef>
                  <a:spcPct val="0"/>
                </a:spcBef>
                <a:spcAft>
                  <a:spcPct val="0"/>
                </a:spcAft>
                <a:defRPr/>
              </a:pPr>
              <a:t>18</a:t>
            </a:fld>
            <a:endParaRPr lang="en-US" dirty="0" smtClean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8FBC1-5EBA-4E8E-AFE4-C6B66FF6A2BE}" type="slidenum">
              <a:rPr lang="pt-BR" smtClean="0"/>
              <a:pPr/>
              <a:t>19</a:t>
            </a:fld>
            <a:endParaRPr lang="pt-BR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  <p:sp>
        <p:nvSpPr>
          <p:cNvPr id="115716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39621" indent="-28447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37878" indent="-227576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593030" indent="-227576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48181" indent="-227576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03333" indent="-227576" defTabSz="90872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58484" indent="-227576" defTabSz="90872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13636" indent="-227576" defTabSz="90872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68787" indent="-227576" defTabSz="90872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08723" fontAlgn="base">
              <a:spcBef>
                <a:spcPct val="0"/>
              </a:spcBef>
              <a:spcAft>
                <a:spcPct val="0"/>
              </a:spcAft>
              <a:defRPr/>
            </a:pPr>
            <a:fld id="{881EFF43-CED2-49F3-844F-CABD2828BCB6}" type="slidenum">
              <a:rPr lang="en-US" smtClean="0"/>
              <a:pPr defTabSz="908723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>
              <a:solidFill>
                <a:srgbClr val="FF0000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8FBC1-5EBA-4E8E-AFE4-C6B66FF6A2BE}" type="slidenum">
              <a:rPr lang="pt-BR" smtClean="0"/>
              <a:pPr/>
              <a:t>3</a:t>
            </a:fld>
            <a:endParaRPr lang="pt-BR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pt-BR" dirty="0" smtClean="0"/>
              <a:t>Há uma série</a:t>
            </a:r>
            <a:r>
              <a:rPr lang="pt-BR" baseline="0" dirty="0" smtClean="0"/>
              <a:t> de tendências globais que se aplicarão ao Brasil, dentre elas:</a:t>
            </a:r>
          </a:p>
          <a:p>
            <a:pPr>
              <a:buFontTx/>
              <a:buChar char="-"/>
            </a:pPr>
            <a:r>
              <a:rPr lang="pt-BR" baseline="0" dirty="0" smtClean="0"/>
              <a:t>Produtos se </a:t>
            </a:r>
            <a:r>
              <a:rPr lang="pt-BR" baseline="0" dirty="0" err="1" smtClean="0"/>
              <a:t>comoditizando</a:t>
            </a:r>
            <a:r>
              <a:rPr lang="pt-BR" baseline="0" dirty="0" smtClean="0"/>
              <a:t> ou sendo copiados mais rapidamente, reduzindo o diferencial de empresas</a:t>
            </a:r>
          </a:p>
          <a:p>
            <a:pPr>
              <a:buFontTx/>
              <a:buChar char="-"/>
            </a:pPr>
            <a:r>
              <a:rPr lang="pt-BR" dirty="0" smtClean="0"/>
              <a:t>Perfil da população mudando,</a:t>
            </a:r>
            <a:r>
              <a:rPr lang="pt-BR" baseline="0" dirty="0" smtClean="0"/>
              <a:t> seja com envelhecimento ou com demandas de consumo diferente pela falta de tempo e espaço físico</a:t>
            </a:r>
          </a:p>
          <a:p>
            <a:pPr>
              <a:buFontTx/>
              <a:buChar char="-"/>
            </a:pPr>
            <a:r>
              <a:rPr lang="pt-BR" baseline="0" dirty="0" smtClean="0"/>
              <a:t>Recursos cada vez mais limitados, pela indisponibilidade real ou impacto ambiental</a:t>
            </a:r>
          </a:p>
          <a:p>
            <a:pPr>
              <a:buFontTx/>
              <a:buChar char="-"/>
            </a:pPr>
            <a:r>
              <a:rPr lang="pt-BR" baseline="0" dirty="0" smtClean="0"/>
              <a:t>Globalização acentuada, reduzindo barreiras de informação e geográficas, tornando concorrência (empresas e profissionais) direta entre alguém em Florianópolis, Berlin ou Xangai; mas também permitindo acesso a muito mais informação gerada em qualquer lugar do mundo</a:t>
            </a:r>
          </a:p>
          <a:p>
            <a:pPr>
              <a:buFontTx/>
              <a:buChar char="-"/>
            </a:pPr>
            <a:endParaRPr lang="pt-BR" baseline="0" dirty="0" smtClean="0"/>
          </a:p>
          <a:p>
            <a:pPr>
              <a:buFontTx/>
              <a:buChar char="-"/>
            </a:pPr>
            <a:r>
              <a:rPr lang="pt-BR" baseline="0" dirty="0" smtClean="0"/>
              <a:t>Na Industria</a:t>
            </a:r>
          </a:p>
          <a:p>
            <a:pPr marL="338138" fontAlgn="base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908050" algn="l"/>
                <a:tab pos="1822450" algn="l"/>
                <a:tab pos="2736850" algn="l"/>
                <a:tab pos="3651250" algn="l"/>
                <a:tab pos="4565650" algn="l"/>
                <a:tab pos="5480050" algn="l"/>
                <a:tab pos="6394450" algn="l"/>
                <a:tab pos="7308850" algn="l"/>
                <a:tab pos="8223250" algn="l"/>
                <a:tab pos="9137650" algn="l"/>
                <a:tab pos="10052050" algn="l"/>
              </a:tabLst>
              <a:defRPr/>
            </a:pP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Eficiência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na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interaçõe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entre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diversa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área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intra e extra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empresa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será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cada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vez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mai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importante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, face a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necessidade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de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diferenciaçã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e a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importância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que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a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velocidade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tem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neste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aspect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(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simplicidade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,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habilidade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hoje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considerada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extra-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engenharia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)</a:t>
            </a:r>
          </a:p>
          <a:p>
            <a:pPr marL="338138" fontAlgn="base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908050" algn="l"/>
                <a:tab pos="1822450" algn="l"/>
                <a:tab pos="2736850" algn="l"/>
                <a:tab pos="3651250" algn="l"/>
                <a:tab pos="4565650" algn="l"/>
                <a:tab pos="5480050" algn="l"/>
                <a:tab pos="6394450" algn="l"/>
                <a:tab pos="7308850" algn="l"/>
                <a:tab pos="8223250" algn="l"/>
                <a:tab pos="9137650" algn="l"/>
                <a:tab pos="10052050" algn="l"/>
              </a:tabLst>
              <a:defRPr/>
            </a:pP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Recurso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computacionai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continuarã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a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ter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a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relaçã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cust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/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benefíci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diminuída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(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simulaçã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)</a:t>
            </a:r>
          </a:p>
          <a:p>
            <a:pPr marL="338138" fontAlgn="base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908050" algn="l"/>
                <a:tab pos="1822450" algn="l"/>
                <a:tab pos="2736850" algn="l"/>
                <a:tab pos="3651250" algn="l"/>
                <a:tab pos="4565650" algn="l"/>
                <a:tab pos="5480050" algn="l"/>
                <a:tab pos="6394450" algn="l"/>
                <a:tab pos="7308850" algn="l"/>
                <a:tab pos="8223250" algn="l"/>
                <a:tab pos="9137650" algn="l"/>
                <a:tab pos="10052050" algn="l"/>
              </a:tabLst>
              <a:defRPr/>
            </a:pP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Em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um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ambiente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com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acess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muit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fácil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à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informaçã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e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fácil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acess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à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simulaçã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, o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entendiment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dos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fenômeno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físico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é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mais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importante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que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o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conheciment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de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fórmulas</a:t>
            </a:r>
            <a:endParaRPr lang="en-US" sz="1200" kern="0" dirty="0" smtClean="0">
              <a:solidFill>
                <a:srgbClr val="595959"/>
              </a:solidFill>
              <a:latin typeface="Arial"/>
              <a:cs typeface="Arial"/>
            </a:endParaRPr>
          </a:p>
          <a:p>
            <a:pPr marL="338138" fontAlgn="base">
              <a:lnSpc>
                <a:spcPct val="104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908050" algn="l"/>
                <a:tab pos="1822450" algn="l"/>
                <a:tab pos="2736850" algn="l"/>
                <a:tab pos="3651250" algn="l"/>
                <a:tab pos="4565650" algn="l"/>
                <a:tab pos="5480050" algn="l"/>
                <a:tab pos="6394450" algn="l"/>
                <a:tab pos="7308850" algn="l"/>
                <a:tab pos="8223250" algn="l"/>
                <a:tab pos="9137650" algn="l"/>
                <a:tab pos="10052050" algn="l"/>
              </a:tabLst>
              <a:defRPr/>
            </a:pP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Correlaçã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com a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realidade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do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dia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-a-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dia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do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engenheiro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deve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ser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fator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determinante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do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que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deve</a:t>
            </a:r>
            <a:r>
              <a:rPr lang="en-US" sz="1200" kern="0" dirty="0" smtClean="0">
                <a:solidFill>
                  <a:srgbClr val="595959"/>
                </a:solidFill>
                <a:latin typeface="Arial"/>
                <a:cs typeface="Arial"/>
              </a:rPr>
              <a:t> ser </a:t>
            </a:r>
            <a:r>
              <a:rPr lang="en-US" sz="1200" kern="0" dirty="0" err="1" smtClean="0">
                <a:solidFill>
                  <a:srgbClr val="595959"/>
                </a:solidFill>
                <a:latin typeface="Arial"/>
                <a:cs typeface="Arial"/>
              </a:rPr>
              <a:t>mandatório</a:t>
            </a:r>
            <a:endParaRPr lang="en-US" sz="1200" kern="0" dirty="0" smtClean="0">
              <a:solidFill>
                <a:srgbClr val="595959"/>
              </a:solidFill>
              <a:latin typeface="Arial"/>
              <a:cs typeface="Arial"/>
            </a:endParaRPr>
          </a:p>
          <a:p>
            <a:pPr>
              <a:buFontTx/>
              <a:buChar char="-"/>
            </a:pP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8FBC1-5EBA-4E8E-AFE4-C6B66FF6A2BE}" type="slidenum">
              <a:rPr lang="pt-BR" smtClean="0"/>
              <a:pPr/>
              <a:t>4</a:t>
            </a:fld>
            <a:endParaRPr lang="pt-BR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pt-BR" dirty="0" smtClean="0"/>
              <a:t>Na Embraco, temos nossa leitura dessas tendências para o negócio, que nos leva a crer que alguns aspectos serão extremamente importantes para o sucesso do nosso negócio nos próximos anos</a:t>
            </a:r>
            <a:endParaRPr lang="pt-BR" dirty="0" smtClean="0">
              <a:solidFill>
                <a:srgbClr val="FF0000"/>
              </a:solidFill>
            </a:endParaRPr>
          </a:p>
          <a:p>
            <a:r>
              <a:rPr lang="pt-BR" dirty="0" smtClean="0">
                <a:solidFill>
                  <a:srgbClr val="FF0000"/>
                </a:solidFill>
              </a:rPr>
              <a:t>Com</a:t>
            </a:r>
            <a:r>
              <a:rPr lang="pt-BR" baseline="0" dirty="0" smtClean="0">
                <a:solidFill>
                  <a:srgbClr val="FF0000"/>
                </a:solidFill>
              </a:rPr>
              <a:t> base nesse planejamento, definimos áreas de pesquisa, competências necessárias e potenciais produtos a serem desenvolvidos.</a:t>
            </a:r>
          </a:p>
          <a:p>
            <a:r>
              <a:rPr lang="pt-BR" baseline="0" dirty="0" smtClean="0">
                <a:solidFill>
                  <a:srgbClr val="FF0000"/>
                </a:solidFill>
              </a:rPr>
              <a:t>Sustentabilidade: 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rgbClr val="FF0000"/>
                </a:solidFill>
                <a:effectLst/>
                <a:latin typeface="Tahoma" pitchFamily="34" charset="0"/>
                <a:ea typeface="Calibri" pitchFamily="34" charset="0"/>
                <a:cs typeface="Tahoma" pitchFamily="34" charset="0"/>
              </a:rPr>
              <a:t>Produtos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rgbClr val="FF0000"/>
                </a:solidFill>
                <a:effectLst/>
                <a:latin typeface="Tahoma" pitchFamily="34" charset="0"/>
                <a:ea typeface="Calibri" pitchFamily="34" charset="0"/>
                <a:cs typeface="Tahoma" pitchFamily="34" charset="0"/>
              </a:rPr>
              <a:t>menores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Tahoma" pitchFamily="34" charset="0"/>
                <a:ea typeface="Calibri" pitchFamily="34" charset="0"/>
                <a:cs typeface="Tahoma" pitchFamily="34" charset="0"/>
              </a:rPr>
              <a:t> com </a:t>
            </a: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rgbClr val="FF0000"/>
                </a:solidFill>
                <a:effectLst/>
                <a:latin typeface="Tahoma" pitchFamily="34" charset="0"/>
                <a:ea typeface="Calibri" pitchFamily="34" charset="0"/>
                <a:cs typeface="Tahoma" pitchFamily="34" charset="0"/>
              </a:rPr>
              <a:t>foco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rgbClr val="FF0000"/>
                </a:solidFill>
                <a:effectLst/>
                <a:latin typeface="Tahoma" pitchFamily="34" charset="0"/>
                <a:ea typeface="Calibri" pitchFamily="34" charset="0"/>
                <a:cs typeface="Tahoma" pitchFamily="34" charset="0"/>
              </a:rPr>
              <a:t>na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rgbClr val="FF0000"/>
                </a:solidFill>
                <a:effectLst/>
                <a:latin typeface="Tahoma" pitchFamily="34" charset="0"/>
                <a:ea typeface="Calibri" pitchFamily="34" charset="0"/>
                <a:cs typeface="Tahoma" pitchFamily="34" charset="0"/>
              </a:rPr>
              <a:t>redução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Tahoma" pitchFamily="34" charset="0"/>
                <a:ea typeface="Calibri" pitchFamily="34" charset="0"/>
                <a:cs typeface="Tahoma" pitchFamily="34" charset="0"/>
              </a:rPr>
              <a:t> de </a:t>
            </a: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rgbClr val="FF0000"/>
                </a:solidFill>
                <a:effectLst/>
                <a:latin typeface="Tahoma" pitchFamily="34" charset="0"/>
                <a:ea typeface="Calibri" pitchFamily="34" charset="0"/>
                <a:cs typeface="Tahoma" pitchFamily="34" charset="0"/>
              </a:rPr>
              <a:t>materia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Tahoma" pitchFamily="34" charset="0"/>
                <a:ea typeface="Calibri" pitchFamily="34" charset="0"/>
                <a:cs typeface="Tahoma" pitchFamily="34" charset="0"/>
              </a:rPr>
              <a:t> prima </a:t>
            </a: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rgbClr val="FF0000"/>
                </a:solidFill>
                <a:effectLst/>
                <a:latin typeface="Tahoma" pitchFamily="34" charset="0"/>
                <a:ea typeface="Calibri" pitchFamily="34" charset="0"/>
                <a:cs typeface="Tahoma" pitchFamily="34" charset="0"/>
              </a:rPr>
              <a:t>cada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rgbClr val="FF0000"/>
                </a:solidFill>
                <a:effectLst/>
                <a:latin typeface="Tahoma" pitchFamily="34" charset="0"/>
                <a:ea typeface="Calibri" pitchFamily="34" charset="0"/>
                <a:cs typeface="Tahoma" pitchFamily="34" charset="0"/>
              </a:rPr>
              <a:t>vez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rgbClr val="FF0000"/>
                </a:solidFill>
                <a:effectLst/>
                <a:latin typeface="Tahoma" pitchFamily="34" charset="0"/>
                <a:ea typeface="Calibri" pitchFamily="34" charset="0"/>
                <a:cs typeface="Tahoma" pitchFamily="34" charset="0"/>
              </a:rPr>
              <a:t>mais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r>
              <a:rPr kumimoji="0" lang="en-US" sz="1200" b="0" i="0" u="none" strike="noStrike" cap="none" normalizeH="0" baseline="0" dirty="0" err="1" smtClean="0">
                <a:ln>
                  <a:noFill/>
                </a:ln>
                <a:solidFill>
                  <a:srgbClr val="FF0000"/>
                </a:solidFill>
                <a:effectLst/>
                <a:latin typeface="Tahoma" pitchFamily="34" charset="0"/>
                <a:ea typeface="Calibri" pitchFamily="34" charset="0"/>
                <a:cs typeface="Tahoma" pitchFamily="34" charset="0"/>
              </a:rPr>
              <a:t>escassa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200" dirty="0" err="1" smtClean="0">
                <a:solidFill>
                  <a:srgbClr val="FF0000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Ecomarketing</a:t>
            </a:r>
            <a:r>
              <a:rPr lang="en-US" sz="1200" dirty="0" smtClean="0">
                <a:solidFill>
                  <a:srgbClr val="FF0000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, com </a:t>
            </a:r>
            <a:r>
              <a:rPr lang="en-US" sz="1200" dirty="0" err="1" smtClean="0">
                <a:solidFill>
                  <a:srgbClr val="FF0000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tecnologias</a:t>
            </a:r>
            <a:r>
              <a:rPr lang="en-US" sz="1200" baseline="0" dirty="0" smtClean="0">
                <a:solidFill>
                  <a:srgbClr val="FF0000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solidFill>
                  <a:srgbClr val="FF0000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que</a:t>
            </a:r>
            <a:r>
              <a:rPr lang="en-US" sz="1200" baseline="0" dirty="0" smtClean="0">
                <a:solidFill>
                  <a:srgbClr val="FF0000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solidFill>
                  <a:srgbClr val="FF0000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mostram</a:t>
            </a:r>
            <a:r>
              <a:rPr lang="en-US" sz="1200" baseline="0" dirty="0" smtClean="0">
                <a:solidFill>
                  <a:srgbClr val="FF0000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solidFill>
                  <a:srgbClr val="FF0000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ao</a:t>
            </a:r>
            <a:r>
              <a:rPr lang="en-US" sz="1200" baseline="0" dirty="0" smtClean="0">
                <a:solidFill>
                  <a:srgbClr val="FF0000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solidFill>
                  <a:srgbClr val="FF0000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cliente</a:t>
            </a:r>
            <a:r>
              <a:rPr lang="en-US" sz="1200" baseline="0" dirty="0" smtClean="0">
                <a:solidFill>
                  <a:srgbClr val="FF0000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solidFill>
                  <a:srgbClr val="FF0000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aspectos</a:t>
            </a:r>
            <a:r>
              <a:rPr lang="en-US" sz="1200" baseline="0" dirty="0" smtClean="0">
                <a:solidFill>
                  <a:srgbClr val="FF0000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de </a:t>
            </a:r>
            <a:r>
              <a:rPr lang="en-US" sz="1200" baseline="0" dirty="0" err="1" smtClean="0">
                <a:solidFill>
                  <a:srgbClr val="FF0000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sustentabilidade</a:t>
            </a:r>
            <a:r>
              <a:rPr lang="en-US" sz="1200" baseline="0" dirty="0" smtClean="0">
                <a:solidFill>
                  <a:srgbClr val="FF0000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solidFill>
                  <a:srgbClr val="FF0000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ambiental</a:t>
            </a:r>
            <a:endParaRPr lang="en-US" sz="1200" dirty="0" smtClean="0">
              <a:solidFill>
                <a:srgbClr val="FF0000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200" dirty="0" err="1" smtClean="0">
                <a:solidFill>
                  <a:srgbClr val="FF0000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Uso</a:t>
            </a:r>
            <a:r>
              <a:rPr lang="en-US" sz="1200" dirty="0" smtClean="0">
                <a:solidFill>
                  <a:srgbClr val="FF0000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de </a:t>
            </a:r>
            <a:r>
              <a:rPr lang="en-US" sz="1200" dirty="0" err="1" smtClean="0">
                <a:solidFill>
                  <a:srgbClr val="FF0000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materiais</a:t>
            </a:r>
            <a:r>
              <a:rPr lang="en-US" sz="1200" dirty="0" smtClean="0">
                <a:solidFill>
                  <a:srgbClr val="FF0000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r>
              <a:rPr lang="en-US" sz="1200" dirty="0" err="1" smtClean="0">
                <a:solidFill>
                  <a:srgbClr val="FF0000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renovaveis</a:t>
            </a:r>
            <a:r>
              <a:rPr lang="en-US" sz="1200" dirty="0" smtClean="0">
                <a:solidFill>
                  <a:srgbClr val="FF0000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e </a:t>
            </a:r>
            <a:r>
              <a:rPr lang="en-US" sz="1200" dirty="0" err="1" smtClean="0">
                <a:solidFill>
                  <a:srgbClr val="FF0000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ambientalmente</a:t>
            </a:r>
            <a:r>
              <a:rPr lang="en-US" sz="1200" baseline="0" dirty="0" smtClean="0">
                <a:solidFill>
                  <a:srgbClr val="FF0000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solidFill>
                  <a:srgbClr val="FF0000"/>
                </a:solidFill>
                <a:latin typeface="Tahoma" pitchFamily="34" charset="0"/>
                <a:ea typeface="Calibri" pitchFamily="34" charset="0"/>
                <a:cs typeface="Tahoma" pitchFamily="34" charset="0"/>
              </a:rPr>
              <a:t>corretos</a:t>
            </a:r>
            <a:endParaRPr lang="en-US" sz="1200" dirty="0" smtClean="0">
              <a:solidFill>
                <a:srgbClr val="FF0000"/>
              </a:solidFill>
              <a:latin typeface="Tahoma" pitchFamily="34" charset="0"/>
              <a:ea typeface="Calibri" pitchFamily="34" charset="0"/>
              <a:cs typeface="Tahoma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kumimoji="0" lang="pt-BR" sz="12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Tahoma" pitchFamily="34" charset="0"/>
                <a:cs typeface="Tahoma" pitchFamily="34" charset="0"/>
              </a:rPr>
              <a:t>Cadeia produtiva com baixo impacto ambiental</a:t>
            </a:r>
          </a:p>
          <a:p>
            <a:endParaRPr lang="pt-BR" baseline="0" dirty="0" smtClean="0">
              <a:solidFill>
                <a:srgbClr val="FF0000"/>
              </a:solidFill>
            </a:endParaRPr>
          </a:p>
          <a:p>
            <a:r>
              <a:rPr lang="pt-BR" baseline="0" dirty="0" smtClean="0">
                <a:solidFill>
                  <a:srgbClr val="FF0000"/>
                </a:solidFill>
              </a:rPr>
              <a:t>Conectividade:</a:t>
            </a:r>
          </a:p>
          <a:p>
            <a:pPr>
              <a:buFont typeface="Arial" pitchFamily="34" charset="0"/>
              <a:buChar char="•"/>
            </a:pPr>
            <a:r>
              <a:rPr lang="en-US" sz="1200" dirty="0" err="1" smtClean="0">
                <a:latin typeface="Tahoma" pitchFamily="34" charset="0"/>
                <a:cs typeface="Tahoma" pitchFamily="34" charset="0"/>
              </a:rPr>
              <a:t>Eletronica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e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Controles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integrando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eletrodomesticos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e se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comunicando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cada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vez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mais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com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usuários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e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rede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elétrica</a:t>
            </a:r>
            <a:endParaRPr lang="en-US" sz="1200" baseline="0" dirty="0" smtClean="0">
              <a:latin typeface="Tahoma" pitchFamily="34" charset="0"/>
              <a:cs typeface="Tahoma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n-US" sz="1200" dirty="0" err="1" smtClean="0">
                <a:latin typeface="Tahoma" pitchFamily="34" charset="0"/>
                <a:cs typeface="Tahoma" pitchFamily="34" charset="0"/>
              </a:rPr>
              <a:t>Equipamentos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que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antecipam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e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gerenciam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manutenção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;</a:t>
            </a:r>
          </a:p>
          <a:p>
            <a:pPr>
              <a:buFont typeface="Arial" pitchFamily="34" charset="0"/>
              <a:buChar char="•"/>
            </a:pP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Inteligencia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na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coleta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de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tratamento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de dados de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uso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para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melhor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optimização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de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funcionamento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;</a:t>
            </a:r>
          </a:p>
          <a:p>
            <a:endParaRPr lang="pt-BR" baseline="0" dirty="0" smtClean="0">
              <a:solidFill>
                <a:srgbClr val="FF0000"/>
              </a:solidFill>
            </a:endParaRPr>
          </a:p>
          <a:p>
            <a:r>
              <a:rPr lang="pt-BR" baseline="0" dirty="0" smtClean="0">
                <a:solidFill>
                  <a:srgbClr val="FF0000"/>
                </a:solidFill>
              </a:rPr>
              <a:t>Eficiência energética:</a:t>
            </a:r>
          </a:p>
          <a:p>
            <a:pPr>
              <a:buFont typeface="Arial" pitchFamily="34" charset="0"/>
              <a:buChar char="•"/>
            </a:pPr>
            <a:r>
              <a:rPr lang="en-US" sz="1200" dirty="0" err="1" smtClean="0">
                <a:latin typeface="Tahoma" pitchFamily="34" charset="0"/>
                <a:cs typeface="Tahoma" pitchFamily="34" charset="0"/>
              </a:rPr>
              <a:t>Necessidade</a:t>
            </a:r>
            <a:r>
              <a:rPr lang="en-US" sz="1200" dirty="0" smtClean="0">
                <a:latin typeface="Tahoma" pitchFamily="34" charset="0"/>
                <a:cs typeface="Tahoma" pitchFamily="34" charset="0"/>
              </a:rPr>
              <a:t> de </a:t>
            </a:r>
            <a:r>
              <a:rPr lang="en-US" sz="1200" dirty="0" err="1" smtClean="0">
                <a:latin typeface="Tahoma" pitchFamily="34" charset="0"/>
                <a:cs typeface="Tahoma" pitchFamily="34" charset="0"/>
              </a:rPr>
              <a:t>flexibilidade</a:t>
            </a:r>
            <a:r>
              <a:rPr lang="en-US" sz="1200" dirty="0" smtClean="0">
                <a:latin typeface="Tahoma" pitchFamily="34" charset="0"/>
                <a:cs typeface="Tahoma" pitchFamily="34" charset="0"/>
              </a:rPr>
              <a:t> e </a:t>
            </a:r>
            <a:r>
              <a:rPr lang="en-US" sz="1200" dirty="0" err="1" smtClean="0">
                <a:latin typeface="Tahoma" pitchFamily="34" charset="0"/>
                <a:cs typeface="Tahoma" pitchFamily="34" charset="0"/>
              </a:rPr>
              <a:t>adaptaçã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o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de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produtos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a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diferentes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fontes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de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energia</a:t>
            </a:r>
            <a:endParaRPr lang="en-US" sz="1200" dirty="0" smtClean="0">
              <a:latin typeface="Tahoma" pitchFamily="34" charset="0"/>
              <a:cs typeface="Tahoma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n-US" sz="1200" dirty="0" err="1" smtClean="0">
                <a:latin typeface="Tahoma" pitchFamily="34" charset="0"/>
                <a:cs typeface="Tahoma" pitchFamily="34" charset="0"/>
              </a:rPr>
              <a:t>Preço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da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energia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elétrica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sofrerá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variação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ao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longo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do dia</a:t>
            </a:r>
            <a:r>
              <a:rPr lang="en-US" sz="1200" dirty="0" smtClean="0">
                <a:latin typeface="Tahoma" pitchFamily="34" charset="0"/>
                <a:cs typeface="Tahoma" pitchFamily="34" charset="0"/>
              </a:rPr>
              <a:t>. </a:t>
            </a:r>
            <a:r>
              <a:rPr lang="en-US" sz="1200" dirty="0" err="1" smtClean="0">
                <a:latin typeface="Tahoma" pitchFamily="34" charset="0"/>
                <a:cs typeface="Tahoma" pitchFamily="34" charset="0"/>
              </a:rPr>
              <a:t>Eletrodomesticos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que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puderem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optimizar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seu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funcionamento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terão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vantagens</a:t>
            </a:r>
            <a:r>
              <a:rPr lang="en-US" sz="1200" dirty="0" smtClean="0">
                <a:latin typeface="Tahoma" pitchFamily="34" charset="0"/>
                <a:cs typeface="Tahoma" pitchFamily="34" charset="0"/>
              </a:rPr>
              <a:t>.</a:t>
            </a:r>
            <a:endParaRPr lang="pt-BR" sz="1200" dirty="0" smtClean="0">
              <a:latin typeface="Tahoma" pitchFamily="34" charset="0"/>
              <a:cs typeface="Tahoma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pt-BR" baseline="0" dirty="0" smtClean="0">
                <a:solidFill>
                  <a:srgbClr val="FF0000"/>
                </a:solidFill>
              </a:rPr>
              <a:t>Além de produtos, a estrutura organizacional da empresa também precisa ser cada vez mais eficiente;</a:t>
            </a:r>
          </a:p>
          <a:p>
            <a:endParaRPr lang="pt-BR" baseline="0" dirty="0" smtClean="0">
              <a:solidFill>
                <a:srgbClr val="FF0000"/>
              </a:solidFill>
            </a:endParaRPr>
          </a:p>
          <a:p>
            <a:r>
              <a:rPr lang="pt-BR" baseline="0" dirty="0" smtClean="0">
                <a:solidFill>
                  <a:srgbClr val="FF0000"/>
                </a:solidFill>
              </a:rPr>
              <a:t>Custo:</a:t>
            </a:r>
          </a:p>
          <a:p>
            <a:pPr marL="0" marR="0" indent="0" algn="l" defTabSz="9140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200" dirty="0" err="1" smtClean="0">
                <a:latin typeface="Tahoma" pitchFamily="34" charset="0"/>
                <a:cs typeface="Tahoma" pitchFamily="34" charset="0"/>
              </a:rPr>
              <a:t>Busca</a:t>
            </a:r>
            <a:r>
              <a:rPr lang="en-US" sz="1200" dirty="0" smtClean="0">
                <a:latin typeface="Tahoma" pitchFamily="34" charset="0"/>
                <a:cs typeface="Tahoma" pitchFamily="34" charset="0"/>
              </a:rPr>
              <a:t> de </a:t>
            </a:r>
            <a:r>
              <a:rPr lang="en-US" sz="1200" dirty="0" err="1" smtClean="0">
                <a:latin typeface="Tahoma" pitchFamily="34" charset="0"/>
                <a:cs typeface="Tahoma" pitchFamily="34" charset="0"/>
              </a:rPr>
              <a:t>soluções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inovadoras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de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baixissimo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custo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para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mercados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antes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não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considerados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(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africa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,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india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…)</a:t>
            </a:r>
          </a:p>
          <a:p>
            <a:pPr>
              <a:buFont typeface="Arial" pitchFamily="34" charset="0"/>
              <a:buChar char="•"/>
            </a:pPr>
            <a:r>
              <a:rPr lang="en-US" sz="1200" dirty="0" err="1" smtClean="0">
                <a:latin typeface="Tahoma" pitchFamily="34" charset="0"/>
                <a:cs typeface="Tahoma" pitchFamily="34" charset="0"/>
              </a:rPr>
              <a:t>Redução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de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tamanho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com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foco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em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redução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de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Materia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prima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sem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redução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de performance</a:t>
            </a:r>
            <a:endParaRPr lang="en-US" sz="1200" dirty="0" smtClean="0">
              <a:latin typeface="Tahoma" pitchFamily="34" charset="0"/>
              <a:cs typeface="Tahoma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pt-BR" baseline="0" dirty="0" smtClean="0">
                <a:solidFill>
                  <a:srgbClr val="FF0000"/>
                </a:solidFill>
              </a:rPr>
              <a:t>Processos de fabricação modulares de baixo investimento, cada vez mais simples que possam ser facilmente transferidos; </a:t>
            </a:r>
          </a:p>
          <a:p>
            <a:endParaRPr lang="pt-BR" baseline="0" dirty="0" smtClean="0">
              <a:solidFill>
                <a:srgbClr val="FF0000"/>
              </a:solidFill>
            </a:endParaRPr>
          </a:p>
          <a:p>
            <a:r>
              <a:rPr lang="pt-BR" baseline="0" dirty="0" smtClean="0">
                <a:solidFill>
                  <a:srgbClr val="FF0000"/>
                </a:solidFill>
              </a:rPr>
              <a:t>Qualidade e Segurança:;</a:t>
            </a:r>
          </a:p>
          <a:p>
            <a:pPr marL="0" marR="0" indent="0" algn="l" defTabSz="9140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b="0" dirty="0" err="1" smtClean="0">
                <a:solidFill>
                  <a:srgbClr val="9EA117"/>
                </a:solidFill>
                <a:effectLst/>
              </a:rPr>
              <a:t>Competencia</a:t>
            </a:r>
            <a:r>
              <a:rPr lang="en-US" b="0" dirty="0" smtClean="0">
                <a:solidFill>
                  <a:srgbClr val="9EA117"/>
                </a:solidFill>
                <a:effectLst/>
              </a:rPr>
              <a:t> </a:t>
            </a:r>
            <a:r>
              <a:rPr lang="en-US" b="0" baseline="0" dirty="0" err="1" smtClean="0">
                <a:solidFill>
                  <a:srgbClr val="9EA117"/>
                </a:solidFill>
                <a:effectLst/>
              </a:rPr>
              <a:t>técnica</a:t>
            </a:r>
            <a:r>
              <a:rPr lang="en-US" b="0" baseline="0" dirty="0" smtClean="0">
                <a:solidFill>
                  <a:srgbClr val="9EA117"/>
                </a:solidFill>
                <a:effectLst/>
              </a:rPr>
              <a:t>, </a:t>
            </a:r>
            <a:r>
              <a:rPr lang="en-US" b="0" baseline="0" dirty="0" err="1" smtClean="0">
                <a:solidFill>
                  <a:srgbClr val="9EA117"/>
                </a:solidFill>
                <a:effectLst/>
              </a:rPr>
              <a:t>flexibilidade</a:t>
            </a:r>
            <a:r>
              <a:rPr lang="en-US" b="0" baseline="0" dirty="0" smtClean="0">
                <a:solidFill>
                  <a:srgbClr val="9EA117"/>
                </a:solidFill>
                <a:effectLst/>
              </a:rPr>
              <a:t>, performance e </a:t>
            </a:r>
            <a:r>
              <a:rPr lang="en-US" b="0" baseline="0" dirty="0" err="1" smtClean="0">
                <a:solidFill>
                  <a:srgbClr val="9EA117"/>
                </a:solidFill>
                <a:effectLst/>
              </a:rPr>
              <a:t>confiabilidade</a:t>
            </a:r>
            <a:r>
              <a:rPr lang="en-US" b="0" baseline="0" dirty="0" smtClean="0">
                <a:solidFill>
                  <a:srgbClr val="9EA117"/>
                </a:solidFill>
                <a:effectLst/>
              </a:rPr>
              <a:t> dos </a:t>
            </a:r>
            <a:r>
              <a:rPr lang="en-US" b="0" baseline="0" dirty="0" err="1" smtClean="0">
                <a:solidFill>
                  <a:srgbClr val="9EA117"/>
                </a:solidFill>
                <a:effectLst/>
              </a:rPr>
              <a:t>processos</a:t>
            </a:r>
            <a:r>
              <a:rPr lang="en-US" b="0" baseline="0" dirty="0" smtClean="0">
                <a:solidFill>
                  <a:srgbClr val="9EA117"/>
                </a:solidFill>
                <a:effectLst/>
              </a:rPr>
              <a:t> e </a:t>
            </a:r>
            <a:r>
              <a:rPr lang="en-US" b="0" baseline="0" dirty="0" err="1" smtClean="0">
                <a:solidFill>
                  <a:srgbClr val="9EA117"/>
                </a:solidFill>
                <a:effectLst/>
              </a:rPr>
              <a:t>produtos</a:t>
            </a:r>
            <a:endParaRPr lang="en-US" b="0" baseline="0" dirty="0" smtClean="0">
              <a:solidFill>
                <a:srgbClr val="9EA117"/>
              </a:solidFill>
              <a:effectLst/>
            </a:endParaRPr>
          </a:p>
          <a:p>
            <a:pPr marL="0" marR="0" indent="0" algn="l" defTabSz="9140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200" dirty="0" err="1" smtClean="0">
                <a:latin typeface="Tahoma" pitchFamily="34" charset="0"/>
                <a:cs typeface="Tahoma" pitchFamily="34" charset="0"/>
              </a:rPr>
              <a:t>Produtos</a:t>
            </a:r>
            <a:r>
              <a:rPr lang="en-US" sz="120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dirty="0" err="1" smtClean="0">
                <a:latin typeface="Tahoma" pitchFamily="34" charset="0"/>
                <a:cs typeface="Tahoma" pitchFamily="34" charset="0"/>
              </a:rPr>
              <a:t>podem</a:t>
            </a:r>
            <a:r>
              <a:rPr lang="en-US" sz="120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dirty="0" err="1" smtClean="0">
                <a:latin typeface="Tahoma" pitchFamily="34" charset="0"/>
                <a:cs typeface="Tahoma" pitchFamily="34" charset="0"/>
              </a:rPr>
              <a:t>ter</a:t>
            </a:r>
            <a:r>
              <a:rPr lang="en-US" sz="120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dirty="0" err="1" smtClean="0">
                <a:latin typeface="Tahoma" pitchFamily="34" charset="0"/>
                <a:cs typeface="Tahoma" pitchFamily="34" charset="0"/>
              </a:rPr>
              <a:t>soluções</a:t>
            </a:r>
            <a:r>
              <a:rPr lang="en-US" sz="120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dirty="0" err="1" smtClean="0">
                <a:latin typeface="Tahoma" pitchFamily="34" charset="0"/>
                <a:cs typeface="Tahoma" pitchFamily="34" charset="0"/>
              </a:rPr>
              <a:t>complexas</a:t>
            </a:r>
            <a:r>
              <a:rPr lang="en-US" sz="1200" dirty="0" smtClean="0">
                <a:latin typeface="Tahoma" pitchFamily="34" charset="0"/>
                <a:cs typeface="Tahoma" pitchFamily="34" charset="0"/>
              </a:rPr>
              <a:t>, </a:t>
            </a:r>
            <a:r>
              <a:rPr lang="en-US" sz="1200" dirty="0" err="1" smtClean="0">
                <a:latin typeface="Tahoma" pitchFamily="34" charset="0"/>
                <a:cs typeface="Tahoma" pitchFamily="34" charset="0"/>
              </a:rPr>
              <a:t>mas</a:t>
            </a:r>
            <a:r>
              <a:rPr lang="en-US" sz="120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dirty="0" err="1" smtClean="0">
                <a:latin typeface="Tahoma" pitchFamily="34" charset="0"/>
                <a:cs typeface="Tahoma" pitchFamily="34" charset="0"/>
              </a:rPr>
              <a:t>devem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ter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fácil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operação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,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especialmente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para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idosos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e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leigos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;</a:t>
            </a:r>
            <a:endParaRPr lang="pt-BR" sz="1200" dirty="0" smtClean="0">
              <a:latin typeface="Tahoma" pitchFamily="34" charset="0"/>
              <a:cs typeface="Tahoma" pitchFamily="34" charset="0"/>
            </a:endParaRPr>
          </a:p>
          <a:p>
            <a:pPr marL="0" marR="0" indent="0" algn="l" defTabSz="9140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200" dirty="0" err="1" smtClean="0">
                <a:latin typeface="Tahoma" pitchFamily="34" charset="0"/>
                <a:cs typeface="Tahoma" pitchFamily="34" charset="0"/>
              </a:rPr>
              <a:t>Preservação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de comida com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tecnologias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diferentes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 de </a:t>
            </a:r>
            <a:r>
              <a:rPr lang="en-US" sz="1200" baseline="0" dirty="0" err="1" smtClean="0">
                <a:latin typeface="Tahoma" pitchFamily="34" charset="0"/>
                <a:cs typeface="Tahoma" pitchFamily="34" charset="0"/>
              </a:rPr>
              <a:t>refrigeradores</a:t>
            </a:r>
            <a:r>
              <a:rPr lang="en-US" sz="1200" baseline="0" dirty="0" smtClean="0">
                <a:latin typeface="Tahoma" pitchFamily="34" charset="0"/>
                <a:cs typeface="Tahoma" pitchFamily="34" charset="0"/>
              </a:rPr>
              <a:t>;</a:t>
            </a:r>
          </a:p>
          <a:p>
            <a:pPr marL="0" marR="0" indent="0" algn="l" defTabSz="9140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 sz="1200" dirty="0" smtClean="0">
              <a:latin typeface="Tahoma" pitchFamily="34" charset="0"/>
              <a:cs typeface="Tahoma" pitchFamily="34" charset="0"/>
            </a:endParaRPr>
          </a:p>
          <a:p>
            <a:endParaRPr lang="pt-BR" dirty="0">
              <a:solidFill>
                <a:srgbClr val="FF0000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8FBC1-5EBA-4E8E-AFE4-C6B66FF6A2BE}" type="slidenum">
              <a:rPr lang="pt-BR" smtClean="0"/>
              <a:pPr/>
              <a:t>5</a:t>
            </a:fld>
            <a:endParaRPr lang="pt-BR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>
              <a:solidFill>
                <a:srgbClr val="FF0000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8FBC1-5EBA-4E8E-AFE4-C6B66FF6A2BE}" type="slidenum">
              <a:rPr lang="pt-BR" smtClean="0"/>
              <a:pPr/>
              <a:t>6</a:t>
            </a:fld>
            <a:endParaRPr lang="pt-BR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Estatísticas apontam que menos da metade*</a:t>
            </a:r>
            <a:r>
              <a:rPr lang="pt-BR" baseline="0" dirty="0" smtClean="0"/>
              <a:t> dos engenheiros trabalham em seu campo original de formação, portanto é importante preparar o profissional com aspectos técnicos, mas também comportamentais. </a:t>
            </a:r>
          </a:p>
          <a:p>
            <a:r>
              <a:rPr lang="pt-BR" baseline="0" dirty="0" smtClean="0"/>
              <a:t>Mesmo para os profissionais que trabalham na área técnica, habilidades de identificação de problema e suas restrições para uma solução simples, comunicação com outros membros do time e foco em atividades e assuntos que tenham alta relevância e impacto nos negócios  são essenciais</a:t>
            </a:r>
          </a:p>
          <a:p>
            <a:r>
              <a:rPr lang="pt-BR" baseline="0" dirty="0" smtClean="0"/>
              <a:t>E tudo isso precisa ser feito cada vez com mais agilidade, assertividade e implementação de forma prática e efetiva em custos</a:t>
            </a:r>
          </a:p>
          <a:p>
            <a:pPr>
              <a:buFont typeface="Arial" charset="0"/>
              <a:buNone/>
            </a:pPr>
            <a:r>
              <a:rPr lang="pt-BR" dirty="0" smtClean="0"/>
              <a:t>* IPEA - “</a:t>
            </a:r>
            <a:r>
              <a:rPr lang="pt-BR" sz="12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Censo de 2010, a pesquisa verificou que 59% dos engenheiros, por exemplo, trabalham em setores não típicos, como mercado financeiro e ensino” (</a:t>
            </a:r>
            <a:r>
              <a:rPr lang="pt-BR" dirty="0" smtClean="0"/>
              <a:t>http://computerworld.com.br/carreira/2013/12/20/quase-60-dos-engenheiros-ocupam-funcoes-fora-de-sua-area-de-atuacao)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B4406-1C04-4525-BCDB-F21865F2E38F}" type="slidenum">
              <a:rPr lang="en-US" smtClean="0"/>
              <a:pPr/>
              <a:t>7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Para exemplificar</a:t>
            </a:r>
            <a:r>
              <a:rPr lang="pt-BR" baseline="0" dirty="0" smtClean="0"/>
              <a:t> as mudanças necessárias na preparação dos futuros profissionais, tomemos como exemplo o MIT (</a:t>
            </a:r>
            <a:r>
              <a:rPr lang="pt-BR" baseline="0" dirty="0" err="1" smtClean="0"/>
              <a:t>Mass</a:t>
            </a:r>
            <a:r>
              <a:rPr lang="pt-BR" baseline="0" dirty="0" smtClean="0"/>
              <a:t> </a:t>
            </a:r>
            <a:r>
              <a:rPr lang="pt-BR" baseline="0" dirty="0" err="1" smtClean="0"/>
              <a:t>Ints</a:t>
            </a:r>
            <a:r>
              <a:rPr lang="pt-BR" baseline="0" dirty="0" smtClean="0"/>
              <a:t> </a:t>
            </a:r>
            <a:r>
              <a:rPr lang="pt-BR" baseline="0" dirty="0" err="1" smtClean="0"/>
              <a:t>of</a:t>
            </a:r>
            <a:r>
              <a:rPr lang="pt-BR" baseline="0" dirty="0" smtClean="0"/>
              <a:t> </a:t>
            </a:r>
            <a:r>
              <a:rPr lang="pt-BR" baseline="0" dirty="0" err="1" smtClean="0"/>
              <a:t>Tech</a:t>
            </a:r>
            <a:r>
              <a:rPr lang="pt-BR" baseline="0" dirty="0" smtClean="0"/>
              <a:t>) que faz </a:t>
            </a:r>
            <a:r>
              <a:rPr lang="pt-BR" baseline="0" dirty="0" err="1" smtClean="0"/>
              <a:t>hackathons</a:t>
            </a:r>
            <a:r>
              <a:rPr lang="pt-BR" baseline="0" dirty="0" smtClean="0"/>
              <a:t> para resolver problemas de saúde e medicina.</a:t>
            </a:r>
            <a:endParaRPr lang="pt-BR" dirty="0">
              <a:solidFill>
                <a:srgbClr val="FF0000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8FBC1-5EBA-4E8E-AFE4-C6B66FF6A2BE}" type="slidenum">
              <a:rPr lang="pt-BR" smtClean="0"/>
              <a:pPr/>
              <a:t>8</a:t>
            </a:fld>
            <a:endParaRPr lang="pt-BR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>
              <a:solidFill>
                <a:srgbClr val="FF0000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8FBC1-5EBA-4E8E-AFE4-C6B66FF6A2BE}" type="slidenum">
              <a:rPr lang="pt-BR" smtClean="0"/>
              <a:pPr/>
              <a:t>9</a:t>
            </a:fld>
            <a:endParaRPr lang="pt-B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1.bin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jpeg"/><Relationship Id="rId4" Type="http://schemas.openxmlformats.org/officeDocument/2006/relationships/oleObject" Target="../embeddings/oleObject5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6.bin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1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1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1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1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1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1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1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8.bin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4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2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2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4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2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2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4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2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2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2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4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2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2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2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4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10.bin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1.vml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5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2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2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5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2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2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5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3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3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5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3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3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5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12.bin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9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3.vml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6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3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3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6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3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3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3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6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3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6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3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6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14.bin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4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5.vml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7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4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4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4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4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4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4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7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4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4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7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4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4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4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4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8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7.xml"/></Relationships>
</file>

<file path=ppt/slideLayouts/_rels/slideLayout4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16.bin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9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4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17.vml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8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4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4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8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4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8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5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5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8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5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5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8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5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5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5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9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42.xml"/></Relationships>
</file>

<file path=ppt/slideLayouts/_rels/slideLayout5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18.bin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44.xml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52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9.vml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9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5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5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9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5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5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9.xml"/></Relationships>
</file>

<file path=ppt/slideLayouts/_rels/slideLayout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5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5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/Relationships>
</file>

<file path=ppt/slideLayouts/_rels/slideLayout5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9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5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5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9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5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5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5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5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0.xml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20.bin"/></Relationships>
</file>

<file path=ppt/slideLayouts/_rels/slideLayout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9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20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1.vml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0.xml"/></Relationships>
</file>

<file path=ppt/slideLayouts/_rels/slideLayout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6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6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6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0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6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6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0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6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6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0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6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6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0.xml"/></Relationships>
</file>

<file path=ppt/slideLayouts/_rels/slideLayout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6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6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6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6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6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1.xml"/></Relationships>
</file>

<file path=ppt/slideLayouts/_rels/slideLayout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6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52.xml"/></Relationships>
</file>

<file path=ppt/slideLayouts/_rels/slideLayout6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22.bin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54.xml"/></Relationships>
</file>

<file path=ppt/slideLayouts/_rels/slideLayout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88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3.vml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1.xml"/></Relationships>
</file>

<file path=ppt/slideLayouts/_rels/slideLayout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6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6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1.xml"/></Relationships>
</file>

<file path=ppt/slideLayouts/_rels/slideLayout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7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7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7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1.xml"/></Relationships>
</file>

<file path=ppt/slideLayouts/_rels/slideLayout7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7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7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7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1.xml"/></Relationships>
</file>

<file path=ppt/slideLayouts/_rels/slideLayout7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7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7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7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1.xml"/></Relationships>
</file>

<file path=ppt/slideLayouts/_rels/slideLayout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7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7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7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7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7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3.bin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18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Figura1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2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 r="391"/>
          <a:stretch>
            <a:fillRect/>
          </a:stretch>
        </p:blipFill>
        <p:spPr bwMode="auto">
          <a:xfrm>
            <a:off x="5441955" y="5176853"/>
            <a:ext cx="32385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6386" name="think-cell Slide" r:id="rId4" imgW="0" imgH="0" progId="">
              <p:embed/>
            </p:oleObj>
          </a:graphicData>
        </a:graphic>
      </p:graphicFrame>
      <p:pic>
        <p:nvPicPr>
          <p:cNvPr id="13" name="Picture 7" descr="logo"/>
          <p:cNvPicPr>
            <a:picLocks noChangeAspect="1" noChangeArrowheads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Straight Connector 8"/>
          <p:cNvCxnSpPr/>
          <p:nvPr userDrawn="1"/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ço Reservado para Texto 16"/>
          <p:cNvSpPr>
            <a:spLocks noGrp="1"/>
          </p:cNvSpPr>
          <p:nvPr>
            <p:ph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18" name="Espaço Reservado para Número de Slide 4"/>
          <p:cNvSpPr txBox="1">
            <a:spLocks noGrp="1"/>
          </p:cNvSpPr>
          <p:nvPr userDrawn="1">
            <p:custDataLst>
              <p:tags r:id="rId2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pic>
        <p:nvPicPr>
          <p:cNvPr id="19" name="Picture 7" descr="logo"/>
          <p:cNvPicPr>
            <a:picLocks noChangeAspect="1" noChangeArrowheads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568876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J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FETTIG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/ M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TODMAN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VISIT</a:t>
            </a:r>
          </a:p>
        </p:txBody>
      </p:sp>
    </p:spTree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0793862" y="8951970"/>
            <a:ext cx="1173198" cy="637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052566" y="9067255"/>
            <a:ext cx="1458336" cy="40888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2395" y="8941107"/>
            <a:ext cx="1671644" cy="595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609151" y="9019393"/>
            <a:ext cx="1530164" cy="502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965814" y="8869335"/>
            <a:ext cx="1360389" cy="735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444358" y="8878034"/>
            <a:ext cx="1153609" cy="722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7487579" y="9043329"/>
            <a:ext cx="1319033" cy="454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2245674" y="8928060"/>
            <a:ext cx="1160139" cy="68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659532" y="9043334"/>
            <a:ext cx="1044777" cy="3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2369734" y="8891094"/>
            <a:ext cx="1042600" cy="622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8929" y="8878036"/>
            <a:ext cx="1253733" cy="659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752810" y="9058545"/>
            <a:ext cx="1393038" cy="269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537009" y="9073771"/>
            <a:ext cx="1686880" cy="2631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102617" y="9099865"/>
            <a:ext cx="1044777" cy="202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10839589" y="8925890"/>
            <a:ext cx="999069" cy="543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098281" y="9025929"/>
            <a:ext cx="1221085" cy="341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522390" y="9913297"/>
            <a:ext cx="4468602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4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4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1433795" y="110933"/>
            <a:ext cx="2261508" cy="1152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14" y="347864"/>
            <a:ext cx="10852386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1391373"/>
            <a:ext cx="9575634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10446155" y="1391373"/>
            <a:ext cx="2959742" cy="8348211"/>
          </a:xfrm>
          <a:prstGeom prst="rect">
            <a:avLst/>
          </a:prstGeom>
        </p:spPr>
        <p:txBody>
          <a:bodyPr lIns="135229" tIns="67616" rIns="135229" bIns="67616"/>
          <a:lstStyle>
            <a:lvl1pPr marL="0" indent="0">
              <a:defRPr sz="23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2874724" y="9913297"/>
            <a:ext cx="5310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735106" y="9140536"/>
            <a:ext cx="12119463" cy="743995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39154" tIns="69579" rIns="139154" bIns="69579" anchor="ctr"/>
          <a:lstStyle>
            <a:lvl1pPr marL="521830" indent="-52183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7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522307" y="384082"/>
            <a:ext cx="11490760" cy="1178799"/>
          </a:xfrm>
          <a:prstGeom prst="rect">
            <a:avLst/>
          </a:prstGeom>
        </p:spPr>
        <p:txBody>
          <a:bodyPr lIns="139154" tIns="69579" rIns="139154" bIns="69579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522397" y="9913297"/>
            <a:ext cx="4525194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10449961" y="2087938"/>
            <a:ext cx="2960203" cy="29622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229" tIns="67616" rIns="135229" bIns="67616" anchor="ctr"/>
          <a:lstStyle/>
          <a:p>
            <a:pPr algn="ctr" defTabSz="139162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10621920" y="2268465"/>
            <a:ext cx="2618474" cy="2175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10621920" y="3895297"/>
            <a:ext cx="2618474" cy="4349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10446151" y="2448810"/>
            <a:ext cx="2966705" cy="1224404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600" cap="all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10446151" y="4062798"/>
            <a:ext cx="2966705" cy="811632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200" cap="none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2087056"/>
            <a:ext cx="9575634" cy="2963615"/>
          </a:xfrm>
          <a:prstGeom prst="rect">
            <a:avLst/>
          </a:prstGeom>
        </p:spPr>
        <p:txBody>
          <a:bodyPr lIns="135229" tIns="67616" rIns="135229" bIns="67616" anchor="ctr"/>
          <a:lstStyle>
            <a:lvl1pPr algn="r">
              <a:defRPr sz="41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567193" y="8725792"/>
            <a:ext cx="2198388" cy="754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1477336" y="8530049"/>
            <a:ext cx="1935015" cy="1146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910151" y="8682294"/>
            <a:ext cx="2550999" cy="835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8523645" y="7122865"/>
            <a:ext cx="2270216" cy="1224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990074" y="7138096"/>
            <a:ext cx="1919779" cy="1202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786085" y="7233791"/>
            <a:ext cx="2783898" cy="996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522397" y="8564844"/>
            <a:ext cx="1952429" cy="10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5752811" y="8756240"/>
            <a:ext cx="2429109" cy="6785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7"/>
            <a:ext cx="12883579" cy="5565476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0793862" y="8951970"/>
            <a:ext cx="1173198" cy="637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052566" y="9067255"/>
            <a:ext cx="1458336" cy="40888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2395" y="8941107"/>
            <a:ext cx="1671644" cy="595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609151" y="9019393"/>
            <a:ext cx="1530164" cy="502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965814" y="8869335"/>
            <a:ext cx="1360389" cy="735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444358" y="8878034"/>
            <a:ext cx="1153609" cy="722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7487579" y="9043329"/>
            <a:ext cx="1319033" cy="454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2245674" y="8928060"/>
            <a:ext cx="1160139" cy="68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659532" y="9043334"/>
            <a:ext cx="1044777" cy="3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2369734" y="8891094"/>
            <a:ext cx="1042600" cy="622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8929" y="8878036"/>
            <a:ext cx="1253733" cy="659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752810" y="9058545"/>
            <a:ext cx="1393038" cy="269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537009" y="9073771"/>
            <a:ext cx="1686880" cy="2631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102617" y="9099865"/>
            <a:ext cx="1044777" cy="202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10839589" y="8925890"/>
            <a:ext cx="999069" cy="543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098281" y="9025929"/>
            <a:ext cx="1221085" cy="341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342900" y="914400"/>
            <a:ext cx="845820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540" y="367172"/>
            <a:ext cx="12535376" cy="596647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514946" y="10004656"/>
            <a:ext cx="4409833" cy="395835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2998777" y="10004642"/>
            <a:ext cx="626868" cy="278391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522390" y="9913297"/>
            <a:ext cx="4468602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4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4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1433795" y="110933"/>
            <a:ext cx="2261508" cy="1152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14" y="347864"/>
            <a:ext cx="10852386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1391373"/>
            <a:ext cx="9575634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10446155" y="1391373"/>
            <a:ext cx="2959742" cy="8348211"/>
          </a:xfrm>
          <a:prstGeom prst="rect">
            <a:avLst/>
          </a:prstGeom>
        </p:spPr>
        <p:txBody>
          <a:bodyPr lIns="135229" tIns="67616" rIns="135229" bIns="67616"/>
          <a:lstStyle>
            <a:lvl1pPr marL="0" indent="0">
              <a:defRPr sz="23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2874724" y="9913297"/>
            <a:ext cx="5310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367554" y="439336"/>
            <a:ext cx="12980303" cy="490970"/>
          </a:xfrm>
          <a:prstGeom prst="rect">
            <a:avLst/>
          </a:prstGeom>
        </p:spPr>
        <p:txBody>
          <a:bodyPr lIns="139148" tIns="69576" rIns="139148" bIns="69576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232140" y="1611189"/>
            <a:ext cx="12883579" cy="7710500"/>
          </a:xfrm>
          <a:prstGeom prst="rect">
            <a:avLst/>
          </a:prstGeom>
        </p:spPr>
        <p:txBody>
          <a:bodyPr lIns="139148" tIns="69576" rIns="139148" bIns="69576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735106" y="9140536"/>
            <a:ext cx="12119463" cy="743995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39154" tIns="69579" rIns="139154" bIns="69579" anchor="ctr"/>
          <a:lstStyle>
            <a:lvl1pPr marL="521830" indent="-52183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7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522307" y="384082"/>
            <a:ext cx="11490760" cy="1178799"/>
          </a:xfrm>
          <a:prstGeom prst="rect">
            <a:avLst/>
          </a:prstGeom>
        </p:spPr>
        <p:txBody>
          <a:bodyPr lIns="139154" tIns="69579" rIns="139154" bIns="69579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423278" y="8036462"/>
            <a:ext cx="3666553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8467108" y="1692637"/>
            <a:ext cx="2398514" cy="2401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597" tIns="54799" rIns="109597" bIns="54799" anchor="ctr"/>
          <a:lstStyle/>
          <a:p>
            <a:pPr algn="ctr" defTabSz="112785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8606446" y="1838979"/>
            <a:ext cx="2121627" cy="1763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8606446" y="3157819"/>
            <a:ext cx="2121627" cy="3526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8464023" y="1985190"/>
            <a:ext cx="2403782" cy="992594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2100" cap="all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8464023" y="3293609"/>
            <a:ext cx="2403782" cy="657970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1800" cap="none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691922"/>
            <a:ext cx="7758687" cy="2402530"/>
          </a:xfrm>
          <a:prstGeom prst="rect">
            <a:avLst/>
          </a:prstGeom>
        </p:spPr>
        <p:txBody>
          <a:bodyPr lIns="109597" tIns="54799" rIns="109597" bIns="54799" anchor="ctr"/>
          <a:lstStyle>
            <a:lvl1pPr algn="r">
              <a:defRPr sz="33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941591" y="7073787"/>
            <a:ext cx="1781250" cy="611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299545" y="6915101"/>
            <a:ext cx="1567852" cy="929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357960" y="7038514"/>
            <a:ext cx="2066955" cy="6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6906310" y="5774343"/>
            <a:ext cx="1839450" cy="992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4853469" y="5786679"/>
            <a:ext cx="1555507" cy="97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257438" y="5864269"/>
            <a:ext cx="2255662" cy="80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423270" y="6943308"/>
            <a:ext cx="1581962" cy="862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4661236" y="7098458"/>
            <a:ext cx="1968193" cy="5501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5"/>
            <a:ext cx="10438960" cy="4511794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745764" y="7257154"/>
            <a:ext cx="950587" cy="516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334873" y="7350589"/>
            <a:ext cx="1181621" cy="3314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3276" y="7248335"/>
            <a:ext cx="1354455" cy="483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544837" y="7311800"/>
            <a:ext cx="1239820" cy="40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213314" y="7190151"/>
            <a:ext cx="1102259" cy="595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980545" y="7197204"/>
            <a:ext cx="934715" cy="585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6066830" y="7331194"/>
            <a:ext cx="1068750" cy="36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922089" y="7237747"/>
            <a:ext cx="940006" cy="55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206161" y="7331212"/>
            <a:ext cx="846534" cy="282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0022620" y="7207783"/>
            <a:ext cx="844770" cy="504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8570" y="7197195"/>
            <a:ext cx="1015841" cy="534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661239" y="7343546"/>
            <a:ext cx="1128713" cy="218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2865872" y="7355883"/>
            <a:ext cx="1366800" cy="213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703651" y="7377036"/>
            <a:ext cx="846534" cy="163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782812" y="7235990"/>
            <a:ext cx="809499" cy="440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7371905" y="7317089"/>
            <a:ext cx="989388" cy="27681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087" y="297657"/>
            <a:ext cx="10156827" cy="483687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899264" y="8110518"/>
            <a:ext cx="3573081" cy="320894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32307" y="8110508"/>
            <a:ext cx="507921" cy="22568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423274" y="8036462"/>
            <a:ext cx="3620699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2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2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9264263" y="89931"/>
            <a:ext cx="1832394" cy="934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10" y="282000"/>
            <a:ext cx="8793179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127949"/>
            <a:ext cx="7758687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8464026" y="1127949"/>
            <a:ext cx="2398140" cy="6767690"/>
          </a:xfrm>
          <a:prstGeom prst="rect">
            <a:avLst/>
          </a:prstGeom>
        </p:spPr>
        <p:txBody>
          <a:bodyPr lIns="109597" tIns="54799" rIns="109597" bIns="54799"/>
          <a:lstStyle>
            <a:lvl1pPr marL="0" indent="0">
              <a:defRPr sz="19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0431790" y="8036462"/>
            <a:ext cx="430321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297817" y="356162"/>
            <a:ext cx="10517331" cy="398017"/>
          </a:xfrm>
          <a:prstGeom prst="rect">
            <a:avLst/>
          </a:prstGeom>
        </p:spPr>
        <p:txBody>
          <a:bodyPr lIns="112772" tIns="56388" rIns="112772" bIns="56388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188090" y="1306154"/>
            <a:ext cx="10438960" cy="6250713"/>
          </a:xfrm>
          <a:prstGeom prst="rect">
            <a:avLst/>
          </a:prstGeom>
        </p:spPr>
        <p:txBody>
          <a:bodyPr lIns="112772" tIns="56388" rIns="112772" bIns="56388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595623" y="7410009"/>
            <a:ext cx="9819833" cy="603139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12779" tIns="56391" rIns="112779" bIns="56391" anchor="ctr"/>
          <a:lstStyle>
            <a:lvl1pPr marL="422919" indent="-422919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2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423201" y="311364"/>
            <a:ext cx="9310424" cy="955623"/>
          </a:xfrm>
          <a:prstGeom prst="rect">
            <a:avLst/>
          </a:prstGeom>
        </p:spPr>
        <p:txBody>
          <a:bodyPr lIns="112779" tIns="56391" rIns="112779" bIns="56391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5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0" y="-7936"/>
            <a:ext cx="9144000" cy="6367463"/>
          </a:xfrm>
          <a:prstGeom prst="rect">
            <a:avLst/>
          </a:prstGeom>
          <a:solidFill>
            <a:srgbClr val="C6DE89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07" tIns="45705" rIns="91407" bIns="45705" anchor="ctr"/>
          <a:lstStyle/>
          <a:p>
            <a:pPr>
              <a:defRPr/>
            </a:pPr>
            <a:r>
              <a:rPr lang="en-US" dirty="0">
                <a:solidFill>
                  <a:srgbClr val="0C0C0C"/>
                </a:solidFill>
              </a:rPr>
              <a:t> 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6408738"/>
            <a:ext cx="9144000" cy="11112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0" y="1"/>
            <a:ext cx="9144000" cy="6367463"/>
          </a:xfrm>
          <a:prstGeom prst="rect">
            <a:avLst/>
          </a:prstGeom>
          <a:solidFill>
            <a:srgbClr val="F5643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07" tIns="45705" rIns="91407" bIns="45705" anchor="ctr"/>
          <a:lstStyle/>
          <a:p>
            <a:pPr>
              <a:defRPr/>
            </a:pPr>
            <a:r>
              <a:rPr lang="en-US" dirty="0">
                <a:solidFill>
                  <a:srgbClr val="0C0C0C"/>
                </a:solidFill>
              </a:rPr>
              <a:t> 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6408738"/>
            <a:ext cx="9144000" cy="11112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/>
          </p:cNvGraphicFramePr>
          <p:nvPr/>
        </p:nvGraphicFramePr>
        <p:xfrm>
          <a:off x="0" y="0"/>
          <a:ext cx="151190" cy="158750"/>
        </p:xfrm>
        <a:graphic>
          <a:graphicData uri="http://schemas.openxmlformats.org/presentationml/2006/ole">
            <p:oleObj spid="_x0000_s1715202" name="think-cell Slide" r:id="rId4" imgW="0" imgH="0" progId="">
              <p:embed/>
            </p:oleObj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  <p:pic>
        <p:nvPicPr>
          <p:cNvPr id="4" name="Content Placeholder 8" descr="logo_rodape.jpg"/>
          <p:cNvPicPr>
            <a:picLocks noChangeAspect="1"/>
          </p:cNvPicPr>
          <p:nvPr userDrawn="1"/>
        </p:nvPicPr>
        <p:blipFill>
          <a:blip r:embed="rId5" cstate="email"/>
          <a:stretch>
            <a:fillRect/>
          </a:stretch>
        </p:blipFill>
        <p:spPr bwMode="auto">
          <a:xfrm>
            <a:off x="7284720" y="6419088"/>
            <a:ext cx="1859280" cy="43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11"/>
          <p:cNvCxnSpPr/>
          <p:nvPr userDrawn="1"/>
        </p:nvCxnSpPr>
        <p:spPr>
          <a:xfrm>
            <a:off x="-1" y="6408820"/>
            <a:ext cx="1828800" cy="1464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23"/>
          <p:cNvCxnSpPr/>
          <p:nvPr userDrawn="1"/>
        </p:nvCxnSpPr>
        <p:spPr>
          <a:xfrm>
            <a:off x="73151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19"/>
          <p:cNvCxnSpPr/>
          <p:nvPr userDrawn="1"/>
        </p:nvCxnSpPr>
        <p:spPr>
          <a:xfrm>
            <a:off x="18287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20"/>
          <p:cNvCxnSpPr/>
          <p:nvPr userDrawn="1"/>
        </p:nvCxnSpPr>
        <p:spPr>
          <a:xfrm>
            <a:off x="36575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21"/>
          <p:cNvCxnSpPr/>
          <p:nvPr userDrawn="1"/>
        </p:nvCxnSpPr>
        <p:spPr>
          <a:xfrm>
            <a:off x="54863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8" name="Espaço Reservado para Número de Slide 4"/>
          <p:cNvSpPr txBox="1">
            <a:spLocks noGrp="1"/>
          </p:cNvSpPr>
          <p:nvPr userDrawn="1">
            <p:custDataLst>
              <p:tags r:id="rId1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3568876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J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FETTIG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/ M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TODMAN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VISIT</a:t>
            </a:r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</p:spTree>
  </p:cSld>
  <p:clrMapOvr>
    <a:masterClrMapping/>
  </p:clrMapOvr>
  <p:transition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8" descr="logo_rodape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11"/>
          <p:cNvCxnSpPr/>
          <p:nvPr userDrawn="1"/>
        </p:nvCxnSpPr>
        <p:spPr>
          <a:xfrm>
            <a:off x="0" y="6408738"/>
            <a:ext cx="1828800" cy="1587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19"/>
          <p:cNvCxnSpPr/>
          <p:nvPr userDrawn="1"/>
        </p:nvCxnSpPr>
        <p:spPr>
          <a:xfrm>
            <a:off x="18288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20"/>
          <p:cNvCxnSpPr/>
          <p:nvPr userDrawn="1"/>
        </p:nvCxnSpPr>
        <p:spPr>
          <a:xfrm>
            <a:off x="36576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21"/>
          <p:cNvCxnSpPr/>
          <p:nvPr userDrawn="1"/>
        </p:nvCxnSpPr>
        <p:spPr>
          <a:xfrm>
            <a:off x="54864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3"/>
          <p:cNvCxnSpPr/>
          <p:nvPr userDrawn="1"/>
        </p:nvCxnSpPr>
        <p:spPr>
          <a:xfrm>
            <a:off x="73152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306000"/>
            <a:ext cx="8229600" cy="748800"/>
          </a:xfrm>
        </p:spPr>
        <p:txBody>
          <a:bodyPr anchor="t"/>
          <a:lstStyle>
            <a:lvl1pPr algn="l">
              <a:defRPr lang="pt-BR" sz="4000" kern="1200" smtClean="0">
                <a:solidFill>
                  <a:srgbClr val="666666"/>
                </a:solidFill>
                <a:latin typeface="Tahoma"/>
                <a:ea typeface="+mj-ea"/>
                <a:cs typeface="Tahoma"/>
              </a:defRPr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4"/>
          </p:nvPr>
        </p:nvSpPr>
        <p:spPr>
          <a:xfrm>
            <a:off x="467544" y="1773237"/>
            <a:ext cx="6109200" cy="4532400"/>
          </a:xfrm>
        </p:spPr>
        <p:txBody>
          <a:bodyPr>
            <a:normAutofit/>
          </a:bodyPr>
          <a:lstStyle>
            <a:lvl1pPr>
              <a:defRPr lang="en-US" sz="2300" kern="1200" dirty="0" smtClean="0">
                <a:solidFill>
                  <a:srgbClr val="FFA514"/>
                </a:solidFill>
                <a:latin typeface="Tahoma"/>
                <a:ea typeface="+mj-ea"/>
                <a:cs typeface="Tahoma"/>
              </a:defRPr>
            </a:lvl1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</p:spTree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3"/>
          <p:cNvCxnSpPr/>
          <p:nvPr userDrawn="1"/>
        </p:nvCxnSpPr>
        <p:spPr>
          <a:xfrm>
            <a:off x="73152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11"/>
          <p:cNvCxnSpPr/>
          <p:nvPr userDrawn="1"/>
        </p:nvCxnSpPr>
        <p:spPr>
          <a:xfrm>
            <a:off x="0" y="6408738"/>
            <a:ext cx="1828800" cy="1587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9"/>
          <p:cNvCxnSpPr/>
          <p:nvPr userDrawn="1"/>
        </p:nvCxnSpPr>
        <p:spPr>
          <a:xfrm>
            <a:off x="18288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0"/>
          <p:cNvCxnSpPr/>
          <p:nvPr userDrawn="1"/>
        </p:nvCxnSpPr>
        <p:spPr>
          <a:xfrm>
            <a:off x="36576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21"/>
          <p:cNvCxnSpPr/>
          <p:nvPr userDrawn="1"/>
        </p:nvCxnSpPr>
        <p:spPr>
          <a:xfrm>
            <a:off x="54864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3"/>
          <p:cNvSpPr txBox="1">
            <a:spLocks/>
          </p:cNvSpPr>
          <p:nvPr userDrawn="1"/>
        </p:nvSpPr>
        <p:spPr bwMode="auto">
          <a:xfrm>
            <a:off x="490538" y="6484938"/>
            <a:ext cx="519112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fld id="{B0128123-B02F-42E9-85C8-0E5C5EB8350E}" type="slidenum">
              <a:rPr lang="pt-BR" sz="130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pPr>
                <a:defRPr/>
              </a:pPr>
              <a:t>‹nº›</a:t>
            </a:fld>
            <a:endParaRPr lang="pt-BR" sz="1300">
              <a:solidFill>
                <a:srgbClr val="666666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85038" y="6419851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3"/>
          <p:cNvCxnSpPr/>
          <p:nvPr userDrawn="1"/>
        </p:nvCxnSpPr>
        <p:spPr>
          <a:xfrm>
            <a:off x="7315200" y="6408759"/>
            <a:ext cx="1828800" cy="1587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11"/>
          <p:cNvCxnSpPr/>
          <p:nvPr userDrawn="1"/>
        </p:nvCxnSpPr>
        <p:spPr>
          <a:xfrm>
            <a:off x="1" y="6408759"/>
            <a:ext cx="1828800" cy="1587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9"/>
          <p:cNvCxnSpPr/>
          <p:nvPr userDrawn="1"/>
        </p:nvCxnSpPr>
        <p:spPr>
          <a:xfrm>
            <a:off x="1828800" y="6408759"/>
            <a:ext cx="1828800" cy="1587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0"/>
          <p:cNvCxnSpPr/>
          <p:nvPr userDrawn="1"/>
        </p:nvCxnSpPr>
        <p:spPr>
          <a:xfrm>
            <a:off x="3657601" y="6408759"/>
            <a:ext cx="1828800" cy="1587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21"/>
          <p:cNvCxnSpPr/>
          <p:nvPr userDrawn="1"/>
        </p:nvCxnSpPr>
        <p:spPr>
          <a:xfrm>
            <a:off x="5486401" y="6408759"/>
            <a:ext cx="1828800" cy="1587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3"/>
          <p:cNvSpPr txBox="1">
            <a:spLocks/>
          </p:cNvSpPr>
          <p:nvPr userDrawn="1"/>
        </p:nvSpPr>
        <p:spPr>
          <a:xfrm>
            <a:off x="490538" y="6484938"/>
            <a:ext cx="519112" cy="304800"/>
          </a:xfrm>
          <a:prstGeom prst="rect">
            <a:avLst/>
          </a:prstGeom>
        </p:spPr>
        <p:txBody>
          <a:bodyPr lIns="91429" tIns="45714" rIns="91429" bIns="45714" anchor="ctr"/>
          <a:lstStyle/>
          <a:p>
            <a:pPr defTabSz="457142">
              <a:defRPr/>
            </a:pPr>
            <a:fld id="{559CD638-5382-41ED-8C6F-0C0621E24E47}" type="slidenum">
              <a:rPr lang="pt-BR" sz="1300">
                <a:solidFill>
                  <a:srgbClr val="666666"/>
                </a:solidFill>
                <a:latin typeface="Tahoma"/>
                <a:cs typeface="Tahoma"/>
              </a:rPr>
              <a:pPr defTabSz="457142">
                <a:defRPr/>
              </a:pPr>
              <a:t>‹nº›</a:t>
            </a:fld>
            <a:endParaRPr lang="pt-BR" sz="1300" dirty="0">
              <a:solidFill>
                <a:srgbClr val="666666"/>
              </a:solidFill>
              <a:latin typeface="Tahoma"/>
              <a:cs typeface="Tahoma"/>
            </a:endParaRPr>
          </a:p>
        </p:txBody>
      </p:sp>
    </p:spTree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8" descr="logo_rodape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85039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23"/>
          <p:cNvCxnSpPr/>
          <p:nvPr userDrawn="1"/>
        </p:nvCxnSpPr>
        <p:spPr>
          <a:xfrm>
            <a:off x="7315202" y="6408761"/>
            <a:ext cx="1828800" cy="1587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11"/>
          <p:cNvCxnSpPr/>
          <p:nvPr userDrawn="1"/>
        </p:nvCxnSpPr>
        <p:spPr>
          <a:xfrm>
            <a:off x="0" y="6408761"/>
            <a:ext cx="1828800" cy="1587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9"/>
          <p:cNvCxnSpPr/>
          <p:nvPr userDrawn="1"/>
        </p:nvCxnSpPr>
        <p:spPr>
          <a:xfrm>
            <a:off x="1828804" y="6408761"/>
            <a:ext cx="1828800" cy="1587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20"/>
          <p:cNvCxnSpPr/>
          <p:nvPr userDrawn="1"/>
        </p:nvCxnSpPr>
        <p:spPr>
          <a:xfrm>
            <a:off x="3657600" y="6408761"/>
            <a:ext cx="1828800" cy="1587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1"/>
          <p:cNvCxnSpPr/>
          <p:nvPr userDrawn="1"/>
        </p:nvCxnSpPr>
        <p:spPr>
          <a:xfrm>
            <a:off x="5486400" y="6408761"/>
            <a:ext cx="1828800" cy="1587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Espaço Reservado para Conteúdo 2"/>
          <p:cNvSpPr>
            <a:spLocks noGrp="1"/>
          </p:cNvSpPr>
          <p:nvPr>
            <p:ph idx="1"/>
          </p:nvPr>
        </p:nvSpPr>
        <p:spPr>
          <a:xfrm>
            <a:off x="342900" y="895353"/>
            <a:ext cx="7607300" cy="5505450"/>
          </a:xfrm>
          <a:prstGeom prst="rect">
            <a:avLst/>
          </a:prstGeom>
        </p:spPr>
        <p:txBody>
          <a:bodyPr/>
          <a:lstStyle>
            <a:lvl1pPr>
              <a:buFont typeface="Wingdings" pitchFamily="2" charset="2"/>
              <a:buChar char="§"/>
              <a:defRPr sz="2000"/>
            </a:lvl1pPr>
            <a:lvl2pPr marL="531813" indent="-258763">
              <a:buFont typeface="Arial" pitchFamily="34" charset="0"/>
              <a:buChar char="•"/>
              <a:defRPr sz="2000"/>
            </a:lvl2pPr>
            <a:lvl3pPr marL="723900" indent="-273050">
              <a:defRPr sz="1800"/>
            </a:lvl3pPr>
            <a:lvl4pPr marL="900113" indent="-273050">
              <a:buFont typeface="Webdings" pitchFamily="18" charset="2"/>
              <a:buChar char=""/>
              <a:defRPr sz="1800"/>
            </a:lvl4pPr>
            <a:lvl5pPr marL="1077913" indent="-273050">
              <a:tabLst>
                <a:tab pos="1077913" algn="l"/>
              </a:tabLst>
              <a:defRPr sz="1800"/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</p:spTree>
  </p:cSld>
  <p:clrMapOvr>
    <a:masterClrMapping/>
  </p:clrMapOvr>
  <p:transition spd="med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 descr="capa_1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Figura1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2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 r="391"/>
          <a:stretch>
            <a:fillRect/>
          </a:stretch>
        </p:blipFill>
        <p:spPr bwMode="auto">
          <a:xfrm>
            <a:off x="5441955" y="5176853"/>
            <a:ext cx="32385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422052"/>
            <a:ext cx="7543800" cy="774700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4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pic>
        <p:nvPicPr>
          <p:cNvPr id="4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 bwMode="auto">
          <a:xfrm>
            <a:off x="7284720" y="6419088"/>
            <a:ext cx="1859280" cy="43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11"/>
          <p:cNvCxnSpPr/>
          <p:nvPr userDrawn="1"/>
        </p:nvCxnSpPr>
        <p:spPr>
          <a:xfrm>
            <a:off x="-1" y="6408820"/>
            <a:ext cx="1828800" cy="1464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3"/>
          <p:cNvCxnSpPr/>
          <p:nvPr userDrawn="1"/>
        </p:nvCxnSpPr>
        <p:spPr>
          <a:xfrm>
            <a:off x="73151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9"/>
          <p:cNvCxnSpPr/>
          <p:nvPr userDrawn="1"/>
        </p:nvCxnSpPr>
        <p:spPr>
          <a:xfrm>
            <a:off x="18287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20"/>
          <p:cNvCxnSpPr/>
          <p:nvPr userDrawn="1"/>
        </p:nvCxnSpPr>
        <p:spPr>
          <a:xfrm>
            <a:off x="36575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1"/>
          <p:cNvCxnSpPr/>
          <p:nvPr userDrawn="1"/>
        </p:nvCxnSpPr>
        <p:spPr>
          <a:xfrm>
            <a:off x="54863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  <p:transition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ítulo e 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8900" y="248532"/>
            <a:ext cx="8902700" cy="328458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Tabela 2"/>
          <p:cNvSpPr>
            <a:spLocks noGrp="1"/>
          </p:cNvSpPr>
          <p:nvPr>
            <p:ph type="tbl" idx="1"/>
          </p:nvPr>
        </p:nvSpPr>
        <p:spPr>
          <a:xfrm>
            <a:off x="152400" y="1058883"/>
            <a:ext cx="8826500" cy="5067300"/>
          </a:xfrm>
        </p:spPr>
        <p:txBody>
          <a:bodyPr/>
          <a:lstStyle/>
          <a:p>
            <a:endParaRPr lang="pt-BR"/>
          </a:p>
        </p:txBody>
      </p:sp>
    </p:spTree>
  </p:cSld>
  <p:clrMapOvr>
    <a:masterClrMapping/>
  </p:clrMapOvr>
  <p:transition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342900" y="914400"/>
            <a:ext cx="845820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/>
          <p:nvPr userDrawn="1"/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52413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8" name="Espaço Reservado para Texto 16"/>
          <p:cNvSpPr>
            <a:spLocks noGrp="1"/>
          </p:cNvSpPr>
          <p:nvPr>
            <p:ph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10" name="Espaço Reservado para Número de Slide 4"/>
          <p:cNvSpPr txBox="1">
            <a:spLocks noGrp="1"/>
          </p:cNvSpPr>
          <p:nvPr userDrawn="1">
            <p:custDataLst>
              <p:tags r:id="rId1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pic>
        <p:nvPicPr>
          <p:cNvPr id="11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</p:spTree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5602" name="think-cell Slide" r:id="rId4" imgW="0" imgH="0" progId="">
              <p:embed/>
            </p:oleObj>
          </a:graphicData>
        </a:graphic>
      </p:graphicFrame>
      <p:pic>
        <p:nvPicPr>
          <p:cNvPr id="13" name="Picture 7" descr="logo"/>
          <p:cNvPicPr>
            <a:picLocks noChangeAspect="1" noChangeArrowheads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Straight Connector 8"/>
          <p:cNvCxnSpPr/>
          <p:nvPr userDrawn="1"/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ço Reservado para Texto 16"/>
          <p:cNvSpPr>
            <a:spLocks noGrp="1"/>
          </p:cNvSpPr>
          <p:nvPr>
            <p:ph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18" name="Espaço Reservado para Número de Slide 4"/>
          <p:cNvSpPr txBox="1">
            <a:spLocks noGrp="1"/>
          </p:cNvSpPr>
          <p:nvPr userDrawn="1">
            <p:custDataLst>
              <p:tags r:id="rId2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pic>
        <p:nvPicPr>
          <p:cNvPr id="19" name="Picture 7" descr="logo"/>
          <p:cNvPicPr>
            <a:picLocks noChangeAspect="1" noChangeArrowheads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568876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J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FETTIG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/ M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TODMAN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VISIT</a:t>
            </a:r>
          </a:p>
        </p:txBody>
      </p:sp>
    </p:spTree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342900" y="914400"/>
            <a:ext cx="845820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8" name="Espaço Reservado para Número de Slide 4"/>
          <p:cNvSpPr txBox="1">
            <a:spLocks noGrp="1"/>
          </p:cNvSpPr>
          <p:nvPr userDrawn="1">
            <p:custDataLst>
              <p:tags r:id="rId1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3568876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J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FETTIG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/ M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TODMAN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VISIT</a:t>
            </a:r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</p:spTree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05" indent="-342705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05" indent="-342705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7650" name="think-cell Slide" r:id="rId5" imgW="0" imgH="0" progId="">
              <p:embed/>
            </p:oleObj>
          </a:graphicData>
        </a:graphic>
      </p:graphicFrame>
      <p:cxnSp>
        <p:nvCxnSpPr>
          <p:cNvPr id="4" name="Straight Connector 8"/>
          <p:cNvCxnSpPr/>
          <p:nvPr>
            <p:custDataLst>
              <p:tags r:id="rId2"/>
            </p:custDataLst>
          </p:nvPr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ítulo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10" name="Retângulo 9"/>
          <p:cNvSpPr/>
          <p:nvPr userDrawn="1"/>
        </p:nvSpPr>
        <p:spPr bwMode="auto">
          <a:xfrm>
            <a:off x="323528" y="980728"/>
            <a:ext cx="6624736" cy="2592288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</p:spPr>
        <p:txBody>
          <a:bodyPr wrap="square" lIns="35981" tIns="35981" rIns="35981" bIns="35981" rtlCol="0" anchor="ctr">
            <a:noAutofit/>
          </a:bodyPr>
          <a:lstStyle/>
          <a:p>
            <a:pPr algn="ctr" defTabSz="913876"/>
            <a:endParaRPr lang="en-US" dirty="0" err="1">
              <a:solidFill>
                <a:srgbClr val="0C0C0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</p:spTree>
  </p:cSld>
  <p:clrMapOvr>
    <a:masterClrMapping/>
  </p:clrMapOvr>
  <p:transition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423278" y="8036462"/>
            <a:ext cx="3666553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8467108" y="1692637"/>
            <a:ext cx="2398514" cy="2401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597" tIns="54799" rIns="109597" bIns="54799" anchor="ctr"/>
          <a:lstStyle/>
          <a:p>
            <a:pPr algn="ctr" defTabSz="112785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8606446" y="1838979"/>
            <a:ext cx="2121627" cy="1763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8606446" y="3157819"/>
            <a:ext cx="2121627" cy="3526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8464023" y="1985190"/>
            <a:ext cx="2403782" cy="992594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2100" cap="all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8464023" y="3293609"/>
            <a:ext cx="2403782" cy="657970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1800" cap="none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691922"/>
            <a:ext cx="7758687" cy="2402530"/>
          </a:xfrm>
          <a:prstGeom prst="rect">
            <a:avLst/>
          </a:prstGeom>
        </p:spPr>
        <p:txBody>
          <a:bodyPr lIns="109597" tIns="54799" rIns="109597" bIns="54799" anchor="ctr"/>
          <a:lstStyle>
            <a:lvl1pPr algn="r">
              <a:defRPr sz="33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941591" y="7073787"/>
            <a:ext cx="1781250" cy="611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299545" y="6915101"/>
            <a:ext cx="1567852" cy="929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357960" y="7038514"/>
            <a:ext cx="2066955" cy="6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6906310" y="5774343"/>
            <a:ext cx="1839450" cy="992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4853469" y="5786679"/>
            <a:ext cx="1555507" cy="97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257438" y="5864269"/>
            <a:ext cx="2255662" cy="80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423270" y="6943308"/>
            <a:ext cx="1581962" cy="862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4661236" y="7098458"/>
            <a:ext cx="1968193" cy="5501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5"/>
            <a:ext cx="10438960" cy="4511794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745764" y="7257154"/>
            <a:ext cx="950587" cy="516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334873" y="7350589"/>
            <a:ext cx="1181621" cy="3314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3276" y="7248335"/>
            <a:ext cx="1354455" cy="483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544837" y="7311800"/>
            <a:ext cx="1239820" cy="40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213314" y="7190151"/>
            <a:ext cx="1102259" cy="595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980545" y="7197204"/>
            <a:ext cx="934715" cy="585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6066830" y="7331194"/>
            <a:ext cx="1068750" cy="36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922089" y="7237747"/>
            <a:ext cx="940006" cy="55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206161" y="7331212"/>
            <a:ext cx="846534" cy="282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0022620" y="7207783"/>
            <a:ext cx="844770" cy="504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8570" y="7197195"/>
            <a:ext cx="1015841" cy="534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661239" y="7343546"/>
            <a:ext cx="1128713" cy="218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2865872" y="7355883"/>
            <a:ext cx="1366800" cy="213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703651" y="7377036"/>
            <a:ext cx="846534" cy="163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782812" y="7235990"/>
            <a:ext cx="809499" cy="440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7371905" y="7317089"/>
            <a:ext cx="989388" cy="27681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087" y="297657"/>
            <a:ext cx="10156827" cy="483687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899264" y="8110518"/>
            <a:ext cx="3573081" cy="320894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32307" y="8110508"/>
            <a:ext cx="507921" cy="22568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423274" y="8036462"/>
            <a:ext cx="3620699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2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2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9264263" y="89931"/>
            <a:ext cx="1832394" cy="934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10" y="282000"/>
            <a:ext cx="8793179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127949"/>
            <a:ext cx="7758687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8464026" y="1127949"/>
            <a:ext cx="2398140" cy="6767690"/>
          </a:xfrm>
          <a:prstGeom prst="rect">
            <a:avLst/>
          </a:prstGeom>
        </p:spPr>
        <p:txBody>
          <a:bodyPr lIns="109597" tIns="54799" rIns="109597" bIns="54799"/>
          <a:lstStyle>
            <a:lvl1pPr marL="0" indent="0">
              <a:defRPr sz="19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0431790" y="8036462"/>
            <a:ext cx="430321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595623" y="7410009"/>
            <a:ext cx="9819833" cy="603139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12779" tIns="56391" rIns="112779" bIns="56391" anchor="ctr"/>
          <a:lstStyle>
            <a:lvl1pPr marL="422919" indent="-422919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2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423201" y="311364"/>
            <a:ext cx="9310424" cy="955623"/>
          </a:xfrm>
          <a:prstGeom prst="rect">
            <a:avLst/>
          </a:prstGeom>
        </p:spPr>
        <p:txBody>
          <a:bodyPr lIns="112779" tIns="56391" rIns="112779" bIns="56391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367554" y="439332"/>
            <a:ext cx="12980303" cy="490970"/>
          </a:xfrm>
          <a:prstGeom prst="rect">
            <a:avLst/>
          </a:prstGeom>
        </p:spPr>
        <p:txBody>
          <a:bodyPr lIns="139163" tIns="69582" rIns="139163" bIns="69582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232140" y="1611189"/>
            <a:ext cx="12883579" cy="7710500"/>
          </a:xfrm>
          <a:prstGeom prst="rect">
            <a:avLst/>
          </a:prstGeom>
        </p:spPr>
        <p:txBody>
          <a:bodyPr lIns="139163" tIns="69582" rIns="139163" bIns="69582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540" y="367172"/>
            <a:ext cx="12535376" cy="596647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514946" y="10004656"/>
            <a:ext cx="4409833" cy="395835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2998777" y="10004642"/>
            <a:ext cx="626868" cy="278391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522397" y="9913297"/>
            <a:ext cx="4525194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10449961" y="2087938"/>
            <a:ext cx="2960203" cy="29622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229" tIns="67616" rIns="135229" bIns="67616" anchor="ctr"/>
          <a:lstStyle/>
          <a:p>
            <a:pPr algn="ctr" defTabSz="139162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10621920" y="2268465"/>
            <a:ext cx="2618474" cy="2175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10621920" y="3895297"/>
            <a:ext cx="2618474" cy="4349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10446151" y="2448810"/>
            <a:ext cx="2966705" cy="1224404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600" cap="all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10446151" y="4062798"/>
            <a:ext cx="2966705" cy="811632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200" cap="none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2087056"/>
            <a:ext cx="9575634" cy="2963615"/>
          </a:xfrm>
          <a:prstGeom prst="rect">
            <a:avLst/>
          </a:prstGeom>
        </p:spPr>
        <p:txBody>
          <a:bodyPr lIns="135229" tIns="67616" rIns="135229" bIns="67616" anchor="ctr"/>
          <a:lstStyle>
            <a:lvl1pPr algn="r">
              <a:defRPr sz="41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567193" y="8725792"/>
            <a:ext cx="2198388" cy="754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1477336" y="8530049"/>
            <a:ext cx="1935015" cy="1146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910151" y="8682294"/>
            <a:ext cx="2550999" cy="835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8523645" y="7122865"/>
            <a:ext cx="2270216" cy="1224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990074" y="7138096"/>
            <a:ext cx="1919779" cy="1202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786085" y="7233791"/>
            <a:ext cx="2783898" cy="996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522397" y="8564844"/>
            <a:ext cx="1952429" cy="10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5752811" y="8756240"/>
            <a:ext cx="2429109" cy="6785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7"/>
            <a:ext cx="12883579" cy="5565476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0793862" y="8951970"/>
            <a:ext cx="1173198" cy="637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052566" y="9067255"/>
            <a:ext cx="1458336" cy="40888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2395" y="8941107"/>
            <a:ext cx="1671644" cy="595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609151" y="9019393"/>
            <a:ext cx="1530164" cy="502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965814" y="8869335"/>
            <a:ext cx="1360389" cy="735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444358" y="8878034"/>
            <a:ext cx="1153609" cy="722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7487579" y="9043329"/>
            <a:ext cx="1319033" cy="454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2245674" y="8928060"/>
            <a:ext cx="1160139" cy="68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659532" y="9043334"/>
            <a:ext cx="1044777" cy="3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2369734" y="8891094"/>
            <a:ext cx="1042600" cy="622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8929" y="8878036"/>
            <a:ext cx="1253733" cy="659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752810" y="9058545"/>
            <a:ext cx="1393038" cy="269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537009" y="9073771"/>
            <a:ext cx="1686880" cy="2631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102617" y="9099865"/>
            <a:ext cx="1044777" cy="202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10839589" y="8925890"/>
            <a:ext cx="999069" cy="543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098281" y="9025929"/>
            <a:ext cx="1221085" cy="341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522390" y="9913297"/>
            <a:ext cx="4468602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4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4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1433795" y="110933"/>
            <a:ext cx="2261508" cy="1152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14" y="347864"/>
            <a:ext cx="10852386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1391373"/>
            <a:ext cx="9575634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10446155" y="1391373"/>
            <a:ext cx="2959742" cy="8348211"/>
          </a:xfrm>
          <a:prstGeom prst="rect">
            <a:avLst/>
          </a:prstGeom>
        </p:spPr>
        <p:txBody>
          <a:bodyPr lIns="135229" tIns="67616" rIns="135229" bIns="67616"/>
          <a:lstStyle>
            <a:lvl1pPr marL="0" indent="0">
              <a:defRPr sz="23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2874724" y="9913297"/>
            <a:ext cx="5310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735106" y="9140536"/>
            <a:ext cx="12119463" cy="743995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39154" tIns="69579" rIns="139154" bIns="69579" anchor="ctr"/>
          <a:lstStyle>
            <a:lvl1pPr marL="521830" indent="-52183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7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522307" y="384082"/>
            <a:ext cx="11490760" cy="1178799"/>
          </a:xfrm>
          <a:prstGeom prst="rect">
            <a:avLst/>
          </a:prstGeom>
        </p:spPr>
        <p:txBody>
          <a:bodyPr lIns="139154" tIns="69579" rIns="139154" bIns="69579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522397" y="9913297"/>
            <a:ext cx="4525194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10449961" y="2087938"/>
            <a:ext cx="2960203" cy="29622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229" tIns="67616" rIns="135229" bIns="67616" anchor="ctr"/>
          <a:lstStyle/>
          <a:p>
            <a:pPr algn="ctr" defTabSz="139162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10621920" y="2268465"/>
            <a:ext cx="2618474" cy="2175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10621920" y="3895297"/>
            <a:ext cx="2618474" cy="4349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10446151" y="2448810"/>
            <a:ext cx="2966705" cy="1224404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600" cap="all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10446151" y="4062798"/>
            <a:ext cx="2966705" cy="811632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200" cap="none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2087056"/>
            <a:ext cx="9575634" cy="2963615"/>
          </a:xfrm>
          <a:prstGeom prst="rect">
            <a:avLst/>
          </a:prstGeom>
        </p:spPr>
        <p:txBody>
          <a:bodyPr lIns="135229" tIns="67616" rIns="135229" bIns="67616" anchor="ctr"/>
          <a:lstStyle>
            <a:lvl1pPr algn="r">
              <a:defRPr sz="41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567193" y="8725792"/>
            <a:ext cx="2198388" cy="754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1477336" y="8530049"/>
            <a:ext cx="1935015" cy="1146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910151" y="8682294"/>
            <a:ext cx="2550999" cy="835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8523645" y="7122865"/>
            <a:ext cx="2270216" cy="1224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990074" y="7138096"/>
            <a:ext cx="1919779" cy="1202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786085" y="7233791"/>
            <a:ext cx="2783898" cy="996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522397" y="8564844"/>
            <a:ext cx="1952429" cy="10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5752811" y="8756240"/>
            <a:ext cx="2429109" cy="6785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7"/>
            <a:ext cx="12883579" cy="5565476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0793862" y="8951970"/>
            <a:ext cx="1173198" cy="637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052566" y="9067255"/>
            <a:ext cx="1458336" cy="40888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2395" y="8941107"/>
            <a:ext cx="1671644" cy="595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609151" y="9019393"/>
            <a:ext cx="1530164" cy="502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965814" y="8869335"/>
            <a:ext cx="1360389" cy="735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444358" y="8878034"/>
            <a:ext cx="1153609" cy="722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7487579" y="9043329"/>
            <a:ext cx="1319033" cy="454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2245674" y="8928060"/>
            <a:ext cx="1160139" cy="68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659532" y="9043334"/>
            <a:ext cx="1044777" cy="3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2369734" y="8891094"/>
            <a:ext cx="1042600" cy="622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8929" y="8878036"/>
            <a:ext cx="1253733" cy="659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752810" y="9058545"/>
            <a:ext cx="1393038" cy="269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537009" y="9073771"/>
            <a:ext cx="1686880" cy="2631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102617" y="9099865"/>
            <a:ext cx="1044777" cy="202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10839589" y="8925890"/>
            <a:ext cx="999069" cy="543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098281" y="9025929"/>
            <a:ext cx="1221085" cy="341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540" y="367172"/>
            <a:ext cx="12535376" cy="596647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514946" y="10004656"/>
            <a:ext cx="4409833" cy="395835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2998777" y="10004642"/>
            <a:ext cx="626868" cy="278391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05" indent="-342705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522390" y="9913297"/>
            <a:ext cx="4468602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4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4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1433795" y="110933"/>
            <a:ext cx="2261508" cy="1152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14" y="347864"/>
            <a:ext cx="10852386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1391373"/>
            <a:ext cx="9575634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10446155" y="1391373"/>
            <a:ext cx="2959742" cy="8348211"/>
          </a:xfrm>
          <a:prstGeom prst="rect">
            <a:avLst/>
          </a:prstGeom>
        </p:spPr>
        <p:txBody>
          <a:bodyPr lIns="135229" tIns="67616" rIns="135229" bIns="67616"/>
          <a:lstStyle>
            <a:lvl1pPr marL="0" indent="0">
              <a:defRPr sz="23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2874724" y="9913297"/>
            <a:ext cx="5310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367554" y="439336"/>
            <a:ext cx="12980303" cy="490970"/>
          </a:xfrm>
          <a:prstGeom prst="rect">
            <a:avLst/>
          </a:prstGeom>
        </p:spPr>
        <p:txBody>
          <a:bodyPr lIns="139148" tIns="69576" rIns="139148" bIns="69576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232140" y="1611189"/>
            <a:ext cx="12883579" cy="7710500"/>
          </a:xfrm>
          <a:prstGeom prst="rect">
            <a:avLst/>
          </a:prstGeom>
        </p:spPr>
        <p:txBody>
          <a:bodyPr lIns="139148" tIns="69576" rIns="139148" bIns="69576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735106" y="9140536"/>
            <a:ext cx="12119463" cy="743995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39154" tIns="69579" rIns="139154" bIns="69579" anchor="ctr"/>
          <a:lstStyle>
            <a:lvl1pPr marL="521830" indent="-52183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7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522307" y="384082"/>
            <a:ext cx="11490760" cy="1178799"/>
          </a:xfrm>
          <a:prstGeom prst="rect">
            <a:avLst/>
          </a:prstGeom>
        </p:spPr>
        <p:txBody>
          <a:bodyPr lIns="139154" tIns="69579" rIns="139154" bIns="69579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423278" y="8036462"/>
            <a:ext cx="3666553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8467108" y="1692637"/>
            <a:ext cx="2398514" cy="2401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597" tIns="54799" rIns="109597" bIns="54799" anchor="ctr"/>
          <a:lstStyle/>
          <a:p>
            <a:pPr algn="ctr" defTabSz="112785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8606446" y="1838979"/>
            <a:ext cx="2121627" cy="1763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8606446" y="3157819"/>
            <a:ext cx="2121627" cy="3526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8464023" y="1985190"/>
            <a:ext cx="2403782" cy="992594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2100" cap="all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8464023" y="3293609"/>
            <a:ext cx="2403782" cy="657970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1800" cap="none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691922"/>
            <a:ext cx="7758687" cy="2402530"/>
          </a:xfrm>
          <a:prstGeom prst="rect">
            <a:avLst/>
          </a:prstGeom>
        </p:spPr>
        <p:txBody>
          <a:bodyPr lIns="109597" tIns="54799" rIns="109597" bIns="54799" anchor="ctr"/>
          <a:lstStyle>
            <a:lvl1pPr algn="r">
              <a:defRPr sz="33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941591" y="7073787"/>
            <a:ext cx="1781250" cy="611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299545" y="6915101"/>
            <a:ext cx="1567852" cy="929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357960" y="7038514"/>
            <a:ext cx="2066955" cy="6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6906310" y="5774343"/>
            <a:ext cx="1839450" cy="992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4853469" y="5786679"/>
            <a:ext cx="1555507" cy="97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257438" y="5864269"/>
            <a:ext cx="2255662" cy="80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423270" y="6943308"/>
            <a:ext cx="1581962" cy="862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4661236" y="7098458"/>
            <a:ext cx="1968193" cy="5501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5"/>
            <a:ext cx="10438960" cy="4511794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745764" y="7257154"/>
            <a:ext cx="950587" cy="516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334873" y="7350589"/>
            <a:ext cx="1181621" cy="3314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3276" y="7248335"/>
            <a:ext cx="1354455" cy="483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544837" y="7311800"/>
            <a:ext cx="1239820" cy="40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213314" y="7190151"/>
            <a:ext cx="1102259" cy="595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980545" y="7197204"/>
            <a:ext cx="934715" cy="585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6066830" y="7331194"/>
            <a:ext cx="1068750" cy="36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922089" y="7237747"/>
            <a:ext cx="940006" cy="55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206161" y="7331212"/>
            <a:ext cx="846534" cy="282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0022620" y="7207783"/>
            <a:ext cx="844770" cy="504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8570" y="7197195"/>
            <a:ext cx="1015841" cy="534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661239" y="7343546"/>
            <a:ext cx="1128713" cy="218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2865872" y="7355883"/>
            <a:ext cx="1366800" cy="213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703651" y="7377036"/>
            <a:ext cx="846534" cy="163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782812" y="7235990"/>
            <a:ext cx="809499" cy="440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7371905" y="7317089"/>
            <a:ext cx="989388" cy="27681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087" y="297657"/>
            <a:ext cx="10156827" cy="483687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899264" y="8110518"/>
            <a:ext cx="3573081" cy="320894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32307" y="8110508"/>
            <a:ext cx="507921" cy="22568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05" indent="-342705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423274" y="8036462"/>
            <a:ext cx="3620699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2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2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9264263" y="89931"/>
            <a:ext cx="1832394" cy="934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10" y="282000"/>
            <a:ext cx="8793179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127949"/>
            <a:ext cx="7758687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8464026" y="1127949"/>
            <a:ext cx="2398140" cy="6767690"/>
          </a:xfrm>
          <a:prstGeom prst="rect">
            <a:avLst/>
          </a:prstGeom>
        </p:spPr>
        <p:txBody>
          <a:bodyPr lIns="109597" tIns="54799" rIns="109597" bIns="54799"/>
          <a:lstStyle>
            <a:lvl1pPr marL="0" indent="0">
              <a:defRPr sz="19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0431790" y="8036462"/>
            <a:ext cx="430321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297817" y="356162"/>
            <a:ext cx="10517331" cy="398017"/>
          </a:xfrm>
          <a:prstGeom prst="rect">
            <a:avLst/>
          </a:prstGeom>
        </p:spPr>
        <p:txBody>
          <a:bodyPr lIns="112772" tIns="56388" rIns="112772" bIns="56388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188090" y="1306154"/>
            <a:ext cx="10438960" cy="6250713"/>
          </a:xfrm>
          <a:prstGeom prst="rect">
            <a:avLst/>
          </a:prstGeom>
        </p:spPr>
        <p:txBody>
          <a:bodyPr lIns="112772" tIns="56388" rIns="112772" bIns="56388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595623" y="7410009"/>
            <a:ext cx="9819833" cy="603139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12779" tIns="56391" rIns="112779" bIns="56391" anchor="ctr"/>
          <a:lstStyle>
            <a:lvl1pPr marL="422919" indent="-422919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2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423201" y="311364"/>
            <a:ext cx="9310424" cy="955623"/>
          </a:xfrm>
          <a:prstGeom prst="rect">
            <a:avLst/>
          </a:prstGeom>
        </p:spPr>
        <p:txBody>
          <a:bodyPr lIns="112779" tIns="56391" rIns="112779" bIns="56391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5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0" y="-7936"/>
            <a:ext cx="9144000" cy="6367463"/>
          </a:xfrm>
          <a:prstGeom prst="rect">
            <a:avLst/>
          </a:prstGeom>
          <a:solidFill>
            <a:srgbClr val="C6DE89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07" tIns="45705" rIns="91407" bIns="45705" anchor="ctr"/>
          <a:lstStyle/>
          <a:p>
            <a:pPr>
              <a:defRPr/>
            </a:pPr>
            <a:r>
              <a:rPr lang="en-US" dirty="0">
                <a:solidFill>
                  <a:srgbClr val="0C0C0C"/>
                </a:solidFill>
              </a:rPr>
              <a:t> 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6408738"/>
            <a:ext cx="9144000" cy="11112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0" y="1"/>
            <a:ext cx="9144000" cy="6367463"/>
          </a:xfrm>
          <a:prstGeom prst="rect">
            <a:avLst/>
          </a:prstGeom>
          <a:solidFill>
            <a:srgbClr val="F5643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07" tIns="45705" rIns="91407" bIns="45705" anchor="ctr"/>
          <a:lstStyle/>
          <a:p>
            <a:pPr>
              <a:defRPr/>
            </a:pPr>
            <a:r>
              <a:rPr lang="en-US" dirty="0">
                <a:solidFill>
                  <a:srgbClr val="0C0C0C"/>
                </a:solidFill>
              </a:rPr>
              <a:t> 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6408738"/>
            <a:ext cx="9144000" cy="11112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Figura1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2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 r="391"/>
          <a:stretch>
            <a:fillRect/>
          </a:stretch>
        </p:blipFill>
        <p:spPr bwMode="auto">
          <a:xfrm>
            <a:off x="5441955" y="5176853"/>
            <a:ext cx="32385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8434" name="think-cell Slide" r:id="rId5" imgW="0" imgH="0" progId="">
              <p:embed/>
            </p:oleObj>
          </a:graphicData>
        </a:graphic>
      </p:graphicFrame>
      <p:cxnSp>
        <p:nvCxnSpPr>
          <p:cNvPr id="4" name="Straight Connector 8"/>
          <p:cNvCxnSpPr/>
          <p:nvPr>
            <p:custDataLst>
              <p:tags r:id="rId2"/>
            </p:custDataLst>
          </p:nvPr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ítulo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10" name="Retângulo 9"/>
          <p:cNvSpPr/>
          <p:nvPr userDrawn="1"/>
        </p:nvSpPr>
        <p:spPr bwMode="auto">
          <a:xfrm>
            <a:off x="323528" y="980728"/>
            <a:ext cx="6624736" cy="2592288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</p:spPr>
        <p:txBody>
          <a:bodyPr wrap="square" lIns="35981" tIns="35981" rIns="35981" bIns="35981" rtlCol="0" anchor="ctr">
            <a:noAutofit/>
          </a:bodyPr>
          <a:lstStyle/>
          <a:p>
            <a:pPr algn="ctr" defTabSz="913876"/>
            <a:endParaRPr lang="en-US" dirty="0" err="1">
              <a:solidFill>
                <a:srgbClr val="0C0C0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422052"/>
            <a:ext cx="7543800" cy="774700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4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pic>
        <p:nvPicPr>
          <p:cNvPr id="4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 bwMode="auto">
          <a:xfrm>
            <a:off x="7284720" y="6419088"/>
            <a:ext cx="1859280" cy="43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11"/>
          <p:cNvCxnSpPr/>
          <p:nvPr userDrawn="1"/>
        </p:nvCxnSpPr>
        <p:spPr>
          <a:xfrm>
            <a:off x="-1" y="6408820"/>
            <a:ext cx="1828800" cy="1464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3"/>
          <p:cNvCxnSpPr/>
          <p:nvPr userDrawn="1"/>
        </p:nvCxnSpPr>
        <p:spPr>
          <a:xfrm>
            <a:off x="73151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9"/>
          <p:cNvCxnSpPr/>
          <p:nvPr userDrawn="1"/>
        </p:nvCxnSpPr>
        <p:spPr>
          <a:xfrm>
            <a:off x="18287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20"/>
          <p:cNvCxnSpPr/>
          <p:nvPr userDrawn="1"/>
        </p:nvCxnSpPr>
        <p:spPr>
          <a:xfrm>
            <a:off x="36575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1"/>
          <p:cNvCxnSpPr/>
          <p:nvPr userDrawn="1"/>
        </p:nvCxnSpPr>
        <p:spPr>
          <a:xfrm>
            <a:off x="54863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  <p:transition/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ítulo e 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8900" y="248532"/>
            <a:ext cx="8902700" cy="328458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Tabela 2"/>
          <p:cNvSpPr>
            <a:spLocks noGrp="1"/>
          </p:cNvSpPr>
          <p:nvPr>
            <p:ph type="tbl" idx="1"/>
          </p:nvPr>
        </p:nvSpPr>
        <p:spPr>
          <a:xfrm>
            <a:off x="152400" y="1058883"/>
            <a:ext cx="8826500" cy="5067300"/>
          </a:xfrm>
        </p:spPr>
        <p:txBody>
          <a:bodyPr/>
          <a:lstStyle/>
          <a:p>
            <a:endParaRPr lang="pt-BR"/>
          </a:p>
        </p:txBody>
      </p:sp>
    </p:spTree>
  </p:cSld>
  <p:clrMapOvr>
    <a:masterClrMapping/>
  </p:clrMapOvr>
  <p:transition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342900" y="914400"/>
            <a:ext cx="845820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/>
          <p:nvPr userDrawn="1"/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52413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8" name="Espaço Reservado para Texto 16"/>
          <p:cNvSpPr>
            <a:spLocks noGrp="1"/>
          </p:cNvSpPr>
          <p:nvPr>
            <p:ph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10" name="Espaço Reservado para Número de Slide 4"/>
          <p:cNvSpPr txBox="1">
            <a:spLocks noGrp="1"/>
          </p:cNvSpPr>
          <p:nvPr userDrawn="1">
            <p:custDataLst>
              <p:tags r:id="rId1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pic>
        <p:nvPicPr>
          <p:cNvPr id="11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</p:spTree>
  </p:cSld>
  <p:clrMapOvr>
    <a:masterClrMapping/>
  </p:clrMapOvr>
  <p:transition/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30402" name="think-cell Slide" r:id="rId4" imgW="0" imgH="0" progId="">
              <p:embed/>
            </p:oleObj>
          </a:graphicData>
        </a:graphic>
      </p:graphicFrame>
      <p:pic>
        <p:nvPicPr>
          <p:cNvPr id="13" name="Picture 7" descr="logo"/>
          <p:cNvPicPr>
            <a:picLocks noChangeAspect="1" noChangeArrowheads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Straight Connector 8"/>
          <p:cNvCxnSpPr/>
          <p:nvPr userDrawn="1"/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ço Reservado para Texto 16"/>
          <p:cNvSpPr>
            <a:spLocks noGrp="1"/>
          </p:cNvSpPr>
          <p:nvPr>
            <p:ph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18" name="Espaço Reservado para Número de Slide 4"/>
          <p:cNvSpPr txBox="1">
            <a:spLocks noGrp="1"/>
          </p:cNvSpPr>
          <p:nvPr userDrawn="1">
            <p:custDataLst>
              <p:tags r:id="rId2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pic>
        <p:nvPicPr>
          <p:cNvPr id="19" name="Picture 7" descr="logo"/>
          <p:cNvPicPr>
            <a:picLocks noChangeAspect="1" noChangeArrowheads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568876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J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FETTIG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/ M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TODMAN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VISIT</a:t>
            </a:r>
          </a:p>
        </p:txBody>
      </p:sp>
    </p:spTree>
  </p:cSld>
  <p:clrMapOvr>
    <a:masterClrMapping/>
  </p:clrMapOvr>
  <p:transition/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342900" y="914400"/>
            <a:ext cx="845820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</p:spTree>
  </p:cSld>
  <p:clrMapOvr>
    <a:masterClrMapping/>
  </p:clrMapOvr>
  <p:transition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8" name="Espaço Reservado para Número de Slide 4"/>
          <p:cNvSpPr txBox="1">
            <a:spLocks noGrp="1"/>
          </p:cNvSpPr>
          <p:nvPr userDrawn="1">
            <p:custDataLst>
              <p:tags r:id="rId1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3568876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J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FETTIG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/ M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TODMAN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VISIT</a:t>
            </a:r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</p:spTree>
  </p:cSld>
  <p:clrMapOvr>
    <a:masterClrMapping/>
  </p:clrMapOvr>
  <p:transition/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05" indent="-342705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05" indent="-342705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32450" name="think-cell Slide" r:id="rId5" imgW="0" imgH="0" progId="">
              <p:embed/>
            </p:oleObj>
          </a:graphicData>
        </a:graphic>
      </p:graphicFrame>
      <p:cxnSp>
        <p:nvCxnSpPr>
          <p:cNvPr id="4" name="Straight Connector 8"/>
          <p:cNvCxnSpPr/>
          <p:nvPr>
            <p:custDataLst>
              <p:tags r:id="rId2"/>
            </p:custDataLst>
          </p:nvPr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ítulo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10" name="Retângulo 9"/>
          <p:cNvSpPr/>
          <p:nvPr userDrawn="1"/>
        </p:nvSpPr>
        <p:spPr bwMode="auto">
          <a:xfrm>
            <a:off x="323528" y="980728"/>
            <a:ext cx="6624736" cy="2592288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</p:spPr>
        <p:txBody>
          <a:bodyPr wrap="square" lIns="35981" tIns="35981" rIns="35981" bIns="35981" rtlCol="0" anchor="ctr">
            <a:noAutofit/>
          </a:bodyPr>
          <a:lstStyle/>
          <a:p>
            <a:pPr algn="ctr" defTabSz="913876"/>
            <a:endParaRPr lang="en-US" dirty="0" err="1">
              <a:solidFill>
                <a:srgbClr val="0C0C0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423278" y="8036462"/>
            <a:ext cx="3666553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8467108" y="1692637"/>
            <a:ext cx="2398514" cy="2401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597" tIns="54799" rIns="109597" bIns="54799" anchor="ctr"/>
          <a:lstStyle/>
          <a:p>
            <a:pPr algn="ctr" defTabSz="112785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8606446" y="1838979"/>
            <a:ext cx="2121627" cy="1763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8606446" y="3157819"/>
            <a:ext cx="2121627" cy="3526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8464023" y="1985190"/>
            <a:ext cx="2403782" cy="992594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2100" cap="all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8464023" y="3293609"/>
            <a:ext cx="2403782" cy="657970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1800" cap="none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691922"/>
            <a:ext cx="7758687" cy="2402530"/>
          </a:xfrm>
          <a:prstGeom prst="rect">
            <a:avLst/>
          </a:prstGeom>
        </p:spPr>
        <p:txBody>
          <a:bodyPr lIns="109597" tIns="54799" rIns="109597" bIns="54799" anchor="ctr"/>
          <a:lstStyle>
            <a:lvl1pPr algn="r">
              <a:defRPr sz="33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423278" y="8036462"/>
            <a:ext cx="3666553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8467108" y="1692637"/>
            <a:ext cx="2398514" cy="2401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597" tIns="54799" rIns="109597" bIns="54799" anchor="ctr"/>
          <a:lstStyle/>
          <a:p>
            <a:pPr algn="ctr" defTabSz="112785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8606446" y="1838979"/>
            <a:ext cx="2121627" cy="1763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8606446" y="3157819"/>
            <a:ext cx="2121627" cy="3526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8464023" y="1985190"/>
            <a:ext cx="2403782" cy="992594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2100" cap="all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8464023" y="3293609"/>
            <a:ext cx="2403782" cy="657970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1800" cap="none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691922"/>
            <a:ext cx="7758687" cy="2402530"/>
          </a:xfrm>
          <a:prstGeom prst="rect">
            <a:avLst/>
          </a:prstGeom>
        </p:spPr>
        <p:txBody>
          <a:bodyPr lIns="109597" tIns="54799" rIns="109597" bIns="54799" anchor="ctr"/>
          <a:lstStyle>
            <a:lvl1pPr algn="r">
              <a:defRPr sz="33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941591" y="7073787"/>
            <a:ext cx="1781250" cy="611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299545" y="6915101"/>
            <a:ext cx="1567852" cy="929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357960" y="7038514"/>
            <a:ext cx="2066955" cy="6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6906310" y="5774343"/>
            <a:ext cx="1839450" cy="992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4853469" y="5786679"/>
            <a:ext cx="1555507" cy="97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257438" y="5864269"/>
            <a:ext cx="2255662" cy="80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423270" y="6943308"/>
            <a:ext cx="1581962" cy="862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4661236" y="7098458"/>
            <a:ext cx="1968193" cy="5501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5"/>
            <a:ext cx="10438960" cy="4511794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745764" y="7257154"/>
            <a:ext cx="950587" cy="516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334873" y="7350589"/>
            <a:ext cx="1181621" cy="3314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3276" y="7248335"/>
            <a:ext cx="1354455" cy="483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544837" y="7311800"/>
            <a:ext cx="1239820" cy="40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213314" y="7190151"/>
            <a:ext cx="1102259" cy="595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980545" y="7197204"/>
            <a:ext cx="934715" cy="585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6066830" y="7331194"/>
            <a:ext cx="1068750" cy="36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922089" y="7237747"/>
            <a:ext cx="940006" cy="55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206161" y="7331212"/>
            <a:ext cx="846534" cy="282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0022620" y="7207783"/>
            <a:ext cx="844770" cy="504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8570" y="7197195"/>
            <a:ext cx="1015841" cy="534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661239" y="7343546"/>
            <a:ext cx="1128713" cy="218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2865872" y="7355883"/>
            <a:ext cx="1366800" cy="213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703651" y="7377036"/>
            <a:ext cx="846534" cy="163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782812" y="7235990"/>
            <a:ext cx="809499" cy="440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7371905" y="7317089"/>
            <a:ext cx="989388" cy="27681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087" y="297657"/>
            <a:ext cx="10156827" cy="483687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899264" y="8110518"/>
            <a:ext cx="3573081" cy="320894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32307" y="8110508"/>
            <a:ext cx="507921" cy="22568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423274" y="8036462"/>
            <a:ext cx="3620699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2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2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9264263" y="89931"/>
            <a:ext cx="1832394" cy="934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10" y="282000"/>
            <a:ext cx="8793179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127949"/>
            <a:ext cx="7758687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8464026" y="1127949"/>
            <a:ext cx="2398140" cy="6767690"/>
          </a:xfrm>
          <a:prstGeom prst="rect">
            <a:avLst/>
          </a:prstGeom>
        </p:spPr>
        <p:txBody>
          <a:bodyPr lIns="109597" tIns="54799" rIns="109597" bIns="54799"/>
          <a:lstStyle>
            <a:lvl1pPr marL="0" indent="0">
              <a:defRPr sz="19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0431790" y="8036462"/>
            <a:ext cx="430321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595623" y="7410009"/>
            <a:ext cx="9819833" cy="603139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12779" tIns="56391" rIns="112779" bIns="56391" anchor="ctr"/>
          <a:lstStyle>
            <a:lvl1pPr marL="422919" indent="-422919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2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423201" y="311364"/>
            <a:ext cx="9310424" cy="955623"/>
          </a:xfrm>
          <a:prstGeom prst="rect">
            <a:avLst/>
          </a:prstGeom>
        </p:spPr>
        <p:txBody>
          <a:bodyPr lIns="112779" tIns="56391" rIns="112779" bIns="56391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367554" y="439332"/>
            <a:ext cx="12980303" cy="490970"/>
          </a:xfrm>
          <a:prstGeom prst="rect">
            <a:avLst/>
          </a:prstGeom>
        </p:spPr>
        <p:txBody>
          <a:bodyPr lIns="139163" tIns="69582" rIns="139163" bIns="69582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232140" y="1611189"/>
            <a:ext cx="12883579" cy="7710500"/>
          </a:xfrm>
          <a:prstGeom prst="rect">
            <a:avLst/>
          </a:prstGeom>
        </p:spPr>
        <p:txBody>
          <a:bodyPr lIns="139163" tIns="69582" rIns="139163" bIns="69582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941591" y="7073787"/>
            <a:ext cx="1781250" cy="611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299545" y="6915101"/>
            <a:ext cx="1567852" cy="929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357960" y="7038514"/>
            <a:ext cx="2066955" cy="6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6906310" y="5774343"/>
            <a:ext cx="1839450" cy="992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4853469" y="5786679"/>
            <a:ext cx="1555507" cy="97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257438" y="5864269"/>
            <a:ext cx="2255662" cy="80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423270" y="6943308"/>
            <a:ext cx="1581962" cy="862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4661236" y="7098458"/>
            <a:ext cx="1968193" cy="5501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5"/>
            <a:ext cx="10438960" cy="4511794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540" y="367172"/>
            <a:ext cx="12535376" cy="596647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514946" y="10004656"/>
            <a:ext cx="4409833" cy="395835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2998777" y="10004642"/>
            <a:ext cx="626868" cy="278391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522397" y="9913297"/>
            <a:ext cx="4525194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10449961" y="2087938"/>
            <a:ext cx="2960203" cy="29622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229" tIns="67616" rIns="135229" bIns="67616" anchor="ctr"/>
          <a:lstStyle/>
          <a:p>
            <a:pPr algn="ctr" defTabSz="139162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10621920" y="2268465"/>
            <a:ext cx="2618474" cy="2175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10621920" y="3895297"/>
            <a:ext cx="2618474" cy="4349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10446151" y="2448810"/>
            <a:ext cx="2966705" cy="1224404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600" cap="all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10446151" y="4062798"/>
            <a:ext cx="2966705" cy="811632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200" cap="none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2087056"/>
            <a:ext cx="9575634" cy="2963615"/>
          </a:xfrm>
          <a:prstGeom prst="rect">
            <a:avLst/>
          </a:prstGeom>
        </p:spPr>
        <p:txBody>
          <a:bodyPr lIns="135229" tIns="67616" rIns="135229" bIns="67616" anchor="ctr"/>
          <a:lstStyle>
            <a:lvl1pPr algn="r">
              <a:defRPr sz="41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567193" y="8725792"/>
            <a:ext cx="2198388" cy="754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1477336" y="8530049"/>
            <a:ext cx="1935015" cy="1146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910151" y="8682294"/>
            <a:ext cx="2550999" cy="835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8523645" y="7122865"/>
            <a:ext cx="2270216" cy="1224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990074" y="7138096"/>
            <a:ext cx="1919779" cy="1202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786085" y="7233791"/>
            <a:ext cx="2783898" cy="996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522397" y="8564844"/>
            <a:ext cx="1952429" cy="10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5752811" y="8756240"/>
            <a:ext cx="2429109" cy="6785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7"/>
            <a:ext cx="12883579" cy="5565476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0793862" y="8951970"/>
            <a:ext cx="1173198" cy="637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052566" y="9067255"/>
            <a:ext cx="1458336" cy="40888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2395" y="8941107"/>
            <a:ext cx="1671644" cy="595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609151" y="9019393"/>
            <a:ext cx="1530164" cy="502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965814" y="8869335"/>
            <a:ext cx="1360389" cy="735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444358" y="8878034"/>
            <a:ext cx="1153609" cy="722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7487579" y="9043329"/>
            <a:ext cx="1319033" cy="454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2245674" y="8928060"/>
            <a:ext cx="1160139" cy="68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659532" y="9043334"/>
            <a:ext cx="1044777" cy="3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2369734" y="8891094"/>
            <a:ext cx="1042600" cy="622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8929" y="8878036"/>
            <a:ext cx="1253733" cy="659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752810" y="9058545"/>
            <a:ext cx="1393038" cy="269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537009" y="9073771"/>
            <a:ext cx="1686880" cy="2631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102617" y="9099865"/>
            <a:ext cx="1044777" cy="202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10839589" y="8925890"/>
            <a:ext cx="999069" cy="543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098281" y="9025929"/>
            <a:ext cx="1221085" cy="341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522390" y="9913297"/>
            <a:ext cx="4468602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4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4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1433795" y="110933"/>
            <a:ext cx="2261508" cy="1152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14" y="347864"/>
            <a:ext cx="10852386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1391373"/>
            <a:ext cx="9575634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10446155" y="1391373"/>
            <a:ext cx="2959742" cy="8348211"/>
          </a:xfrm>
          <a:prstGeom prst="rect">
            <a:avLst/>
          </a:prstGeom>
        </p:spPr>
        <p:txBody>
          <a:bodyPr lIns="135229" tIns="67616" rIns="135229" bIns="67616"/>
          <a:lstStyle>
            <a:lvl1pPr marL="0" indent="0">
              <a:defRPr sz="23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2874724" y="9913297"/>
            <a:ext cx="5310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735106" y="9140536"/>
            <a:ext cx="12119463" cy="743995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39154" tIns="69579" rIns="139154" bIns="69579" anchor="ctr"/>
          <a:lstStyle>
            <a:lvl1pPr marL="521830" indent="-52183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7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522307" y="384082"/>
            <a:ext cx="11490760" cy="1178799"/>
          </a:xfrm>
          <a:prstGeom prst="rect">
            <a:avLst/>
          </a:prstGeom>
        </p:spPr>
        <p:txBody>
          <a:bodyPr lIns="139154" tIns="69579" rIns="139154" bIns="69579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522397" y="9913297"/>
            <a:ext cx="4525194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10449961" y="2087938"/>
            <a:ext cx="2960203" cy="29622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229" tIns="67616" rIns="135229" bIns="67616" anchor="ctr"/>
          <a:lstStyle/>
          <a:p>
            <a:pPr algn="ctr" defTabSz="139162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10621920" y="2268465"/>
            <a:ext cx="2618474" cy="2175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10621920" y="3895297"/>
            <a:ext cx="2618474" cy="4349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10446151" y="2448810"/>
            <a:ext cx="2966705" cy="1224404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600" cap="all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10446151" y="4062798"/>
            <a:ext cx="2966705" cy="811632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200" cap="none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2087056"/>
            <a:ext cx="9575634" cy="2963615"/>
          </a:xfrm>
          <a:prstGeom prst="rect">
            <a:avLst/>
          </a:prstGeom>
        </p:spPr>
        <p:txBody>
          <a:bodyPr lIns="135229" tIns="67616" rIns="135229" bIns="67616" anchor="ctr"/>
          <a:lstStyle>
            <a:lvl1pPr algn="r">
              <a:defRPr sz="41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745764" y="7257154"/>
            <a:ext cx="950587" cy="516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334873" y="7350589"/>
            <a:ext cx="1181621" cy="3314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3276" y="7248335"/>
            <a:ext cx="1354455" cy="483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544837" y="7311800"/>
            <a:ext cx="1239820" cy="40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213314" y="7190151"/>
            <a:ext cx="1102259" cy="595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980545" y="7197204"/>
            <a:ext cx="934715" cy="585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6066830" y="7331194"/>
            <a:ext cx="1068750" cy="36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922089" y="7237747"/>
            <a:ext cx="940006" cy="55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567193" y="8725792"/>
            <a:ext cx="2198388" cy="754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1477336" y="8530049"/>
            <a:ext cx="1935015" cy="1146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910151" y="8682294"/>
            <a:ext cx="2550999" cy="835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8523645" y="7122865"/>
            <a:ext cx="2270216" cy="1224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990074" y="7138096"/>
            <a:ext cx="1919779" cy="1202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786085" y="7233791"/>
            <a:ext cx="2783898" cy="996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522397" y="8564844"/>
            <a:ext cx="1952429" cy="10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5752811" y="8756240"/>
            <a:ext cx="2429109" cy="6785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7"/>
            <a:ext cx="12883579" cy="5565476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0793862" y="8951970"/>
            <a:ext cx="1173198" cy="637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052566" y="9067255"/>
            <a:ext cx="1458336" cy="40888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2395" y="8941107"/>
            <a:ext cx="1671644" cy="595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609151" y="9019393"/>
            <a:ext cx="1530164" cy="502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965814" y="8869335"/>
            <a:ext cx="1360389" cy="735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444358" y="8878034"/>
            <a:ext cx="1153609" cy="722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7487579" y="9043329"/>
            <a:ext cx="1319033" cy="454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2245674" y="8928060"/>
            <a:ext cx="1160139" cy="68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659532" y="9043334"/>
            <a:ext cx="1044777" cy="3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2369734" y="8891094"/>
            <a:ext cx="1042600" cy="622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8929" y="8878036"/>
            <a:ext cx="1253733" cy="659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752810" y="9058545"/>
            <a:ext cx="1393038" cy="269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537009" y="9073771"/>
            <a:ext cx="1686880" cy="2631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102617" y="9099865"/>
            <a:ext cx="1044777" cy="202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10839589" y="8925890"/>
            <a:ext cx="999069" cy="543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098281" y="9025929"/>
            <a:ext cx="1221085" cy="341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540" y="367172"/>
            <a:ext cx="12535376" cy="596647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514946" y="10004656"/>
            <a:ext cx="4409833" cy="395835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2998777" y="10004642"/>
            <a:ext cx="626868" cy="278391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522390" y="9913297"/>
            <a:ext cx="4468602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4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4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1433795" y="110933"/>
            <a:ext cx="2261508" cy="1152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14" y="347864"/>
            <a:ext cx="10852386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1391373"/>
            <a:ext cx="9575634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10446155" y="1391373"/>
            <a:ext cx="2959742" cy="8348211"/>
          </a:xfrm>
          <a:prstGeom prst="rect">
            <a:avLst/>
          </a:prstGeom>
        </p:spPr>
        <p:txBody>
          <a:bodyPr lIns="135229" tIns="67616" rIns="135229" bIns="67616"/>
          <a:lstStyle>
            <a:lvl1pPr marL="0" indent="0">
              <a:defRPr sz="23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2874724" y="9913297"/>
            <a:ext cx="5310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367554" y="439336"/>
            <a:ext cx="12980303" cy="490970"/>
          </a:xfrm>
          <a:prstGeom prst="rect">
            <a:avLst/>
          </a:prstGeom>
        </p:spPr>
        <p:txBody>
          <a:bodyPr lIns="139148" tIns="69576" rIns="139148" bIns="69576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232140" y="1611189"/>
            <a:ext cx="12883579" cy="7710500"/>
          </a:xfrm>
          <a:prstGeom prst="rect">
            <a:avLst/>
          </a:prstGeom>
        </p:spPr>
        <p:txBody>
          <a:bodyPr lIns="139148" tIns="69576" rIns="139148" bIns="69576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735106" y="9140536"/>
            <a:ext cx="12119463" cy="743995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39154" tIns="69579" rIns="139154" bIns="69579" anchor="ctr"/>
          <a:lstStyle>
            <a:lvl1pPr marL="521830" indent="-52183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7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522307" y="384082"/>
            <a:ext cx="11490760" cy="1178799"/>
          </a:xfrm>
          <a:prstGeom prst="rect">
            <a:avLst/>
          </a:prstGeom>
        </p:spPr>
        <p:txBody>
          <a:bodyPr lIns="139154" tIns="69579" rIns="139154" bIns="69579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423278" y="8036462"/>
            <a:ext cx="3666553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8467108" y="1692637"/>
            <a:ext cx="2398514" cy="2401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597" tIns="54799" rIns="109597" bIns="54799" anchor="ctr"/>
          <a:lstStyle/>
          <a:p>
            <a:pPr algn="ctr" defTabSz="112785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8606446" y="1838979"/>
            <a:ext cx="2121627" cy="1763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8606446" y="3157819"/>
            <a:ext cx="2121627" cy="3526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8464023" y="1985190"/>
            <a:ext cx="2403782" cy="992594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2100" cap="all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8464023" y="3293609"/>
            <a:ext cx="2403782" cy="657970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1800" cap="none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691922"/>
            <a:ext cx="7758687" cy="2402530"/>
          </a:xfrm>
          <a:prstGeom prst="rect">
            <a:avLst/>
          </a:prstGeom>
        </p:spPr>
        <p:txBody>
          <a:bodyPr lIns="109597" tIns="54799" rIns="109597" bIns="54799" anchor="ctr"/>
          <a:lstStyle>
            <a:lvl1pPr algn="r">
              <a:defRPr sz="33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206161" y="7331212"/>
            <a:ext cx="846534" cy="282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0022620" y="7207783"/>
            <a:ext cx="844770" cy="504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8570" y="7197195"/>
            <a:ext cx="1015841" cy="534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661239" y="7343546"/>
            <a:ext cx="1128713" cy="218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2865872" y="7355883"/>
            <a:ext cx="1366800" cy="213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703651" y="7377036"/>
            <a:ext cx="846534" cy="163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782812" y="7235990"/>
            <a:ext cx="809499" cy="440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7371905" y="7317089"/>
            <a:ext cx="989388" cy="27681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941591" y="7073787"/>
            <a:ext cx="1781250" cy="611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299545" y="6915101"/>
            <a:ext cx="1567852" cy="929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357960" y="7038514"/>
            <a:ext cx="2066955" cy="6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6906310" y="5774343"/>
            <a:ext cx="1839450" cy="992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4853469" y="5786679"/>
            <a:ext cx="1555507" cy="97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257438" y="5864269"/>
            <a:ext cx="2255662" cy="80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423270" y="6943308"/>
            <a:ext cx="1581962" cy="862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4661236" y="7098458"/>
            <a:ext cx="1968193" cy="5501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5"/>
            <a:ext cx="10438960" cy="4511794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745764" y="7257154"/>
            <a:ext cx="950587" cy="516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334873" y="7350589"/>
            <a:ext cx="1181621" cy="3314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3276" y="7248335"/>
            <a:ext cx="1354455" cy="483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544837" y="7311800"/>
            <a:ext cx="1239820" cy="40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213314" y="7190151"/>
            <a:ext cx="1102259" cy="595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980545" y="7197204"/>
            <a:ext cx="934715" cy="585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6066830" y="7331194"/>
            <a:ext cx="1068750" cy="36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922089" y="7237747"/>
            <a:ext cx="940006" cy="55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206161" y="7331212"/>
            <a:ext cx="846534" cy="282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0022620" y="7207783"/>
            <a:ext cx="844770" cy="504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8570" y="7197195"/>
            <a:ext cx="1015841" cy="534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661239" y="7343546"/>
            <a:ext cx="1128713" cy="218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2865872" y="7355883"/>
            <a:ext cx="1366800" cy="213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703651" y="7377036"/>
            <a:ext cx="846534" cy="163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782812" y="7235990"/>
            <a:ext cx="809499" cy="440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7371905" y="7317089"/>
            <a:ext cx="989388" cy="27681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087" y="297657"/>
            <a:ext cx="10156827" cy="483687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899264" y="8110518"/>
            <a:ext cx="3573081" cy="320894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32307" y="8110508"/>
            <a:ext cx="507921" cy="22568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423274" y="8036462"/>
            <a:ext cx="3620699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2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2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9264263" y="89931"/>
            <a:ext cx="1832394" cy="934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10" y="282000"/>
            <a:ext cx="8793179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127949"/>
            <a:ext cx="7758687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8464026" y="1127949"/>
            <a:ext cx="2398140" cy="6767690"/>
          </a:xfrm>
          <a:prstGeom prst="rect">
            <a:avLst/>
          </a:prstGeom>
        </p:spPr>
        <p:txBody>
          <a:bodyPr lIns="109597" tIns="54799" rIns="109597" bIns="54799"/>
          <a:lstStyle>
            <a:lvl1pPr marL="0" indent="0">
              <a:defRPr sz="19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0431790" y="8036462"/>
            <a:ext cx="430321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297817" y="356162"/>
            <a:ext cx="10517331" cy="398017"/>
          </a:xfrm>
          <a:prstGeom prst="rect">
            <a:avLst/>
          </a:prstGeom>
        </p:spPr>
        <p:txBody>
          <a:bodyPr lIns="112772" tIns="56388" rIns="112772" bIns="56388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188090" y="1306154"/>
            <a:ext cx="10438960" cy="6250713"/>
          </a:xfrm>
          <a:prstGeom prst="rect">
            <a:avLst/>
          </a:prstGeom>
        </p:spPr>
        <p:txBody>
          <a:bodyPr lIns="112772" tIns="56388" rIns="112772" bIns="56388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595623" y="7410009"/>
            <a:ext cx="9819833" cy="603139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12779" tIns="56391" rIns="112779" bIns="56391" anchor="ctr"/>
          <a:lstStyle>
            <a:lvl1pPr marL="422919" indent="-422919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2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423201" y="311364"/>
            <a:ext cx="9310424" cy="955623"/>
          </a:xfrm>
          <a:prstGeom prst="rect">
            <a:avLst/>
          </a:prstGeom>
        </p:spPr>
        <p:txBody>
          <a:bodyPr lIns="112779" tIns="56391" rIns="112779" bIns="56391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5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087" y="297657"/>
            <a:ext cx="10156827" cy="483687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899264" y="8110518"/>
            <a:ext cx="3573081" cy="320894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32307" y="8110508"/>
            <a:ext cx="507921" cy="22568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0" y="-7936"/>
            <a:ext cx="9144000" cy="6367463"/>
          </a:xfrm>
          <a:prstGeom prst="rect">
            <a:avLst/>
          </a:prstGeom>
          <a:solidFill>
            <a:srgbClr val="C6DE89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07" tIns="45705" rIns="91407" bIns="45705" anchor="ctr"/>
          <a:lstStyle/>
          <a:p>
            <a:pPr>
              <a:defRPr/>
            </a:pPr>
            <a:r>
              <a:rPr lang="en-US" dirty="0">
                <a:solidFill>
                  <a:srgbClr val="0C0C0C"/>
                </a:solidFill>
              </a:rPr>
              <a:t> 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6408738"/>
            <a:ext cx="9144000" cy="11112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</p:spPr>
        <p:txBody>
          <a:bodyPr/>
          <a:lstStyle/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en-US"/>
          </a:p>
        </p:txBody>
      </p:sp>
      <p:sp>
        <p:nvSpPr>
          <p:cNvPr id="4" name="Espaço Reservado para Rodapé 4"/>
          <p:cNvSpPr>
            <a:spLocks noGrp="1"/>
          </p:cNvSpPr>
          <p:nvPr userDrawn="1">
            <p:ph type="ftr" sz="quarter" idx="12"/>
          </p:nvPr>
        </p:nvSpPr>
        <p:spPr>
          <a:xfrm>
            <a:off x="2843808" y="6597352"/>
            <a:ext cx="3456384" cy="191096"/>
          </a:xfrm>
          <a:prstGeom prst="rect">
            <a:avLst/>
          </a:prstGeom>
        </p:spPr>
        <p:txBody>
          <a:bodyPr lIns="91407" tIns="45705" rIns="91407" bIns="45705"/>
          <a:lstStyle>
            <a:lvl1pPr algn="ctr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>
              <a:solidFill>
                <a:srgbClr val="0C0C0C">
                  <a:lumMod val="50000"/>
                  <a:lumOff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0" y="1"/>
            <a:ext cx="9144000" cy="6367463"/>
          </a:xfrm>
          <a:prstGeom prst="rect">
            <a:avLst/>
          </a:prstGeom>
          <a:solidFill>
            <a:srgbClr val="F5643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07" tIns="45705" rIns="91407" bIns="45705" anchor="ctr"/>
          <a:lstStyle/>
          <a:p>
            <a:pPr>
              <a:defRPr/>
            </a:pPr>
            <a:r>
              <a:rPr lang="en-US" dirty="0">
                <a:solidFill>
                  <a:srgbClr val="0C0C0C"/>
                </a:solidFill>
              </a:rPr>
              <a:t> 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6408738"/>
            <a:ext cx="9144000" cy="11112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Figura1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2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 r="391"/>
          <a:stretch>
            <a:fillRect/>
          </a:stretch>
        </p:blipFill>
        <p:spPr bwMode="auto">
          <a:xfrm>
            <a:off x="5441955" y="5176853"/>
            <a:ext cx="32385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422052"/>
            <a:ext cx="7543800" cy="774700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4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pic>
        <p:nvPicPr>
          <p:cNvPr id="4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 bwMode="auto">
          <a:xfrm>
            <a:off x="7284720" y="6419088"/>
            <a:ext cx="1859280" cy="43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11"/>
          <p:cNvCxnSpPr/>
          <p:nvPr userDrawn="1"/>
        </p:nvCxnSpPr>
        <p:spPr>
          <a:xfrm>
            <a:off x="-1" y="6408820"/>
            <a:ext cx="1828800" cy="1464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3"/>
          <p:cNvCxnSpPr/>
          <p:nvPr userDrawn="1"/>
        </p:nvCxnSpPr>
        <p:spPr>
          <a:xfrm>
            <a:off x="73151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9"/>
          <p:cNvCxnSpPr/>
          <p:nvPr userDrawn="1"/>
        </p:nvCxnSpPr>
        <p:spPr>
          <a:xfrm>
            <a:off x="18287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20"/>
          <p:cNvCxnSpPr/>
          <p:nvPr userDrawn="1"/>
        </p:nvCxnSpPr>
        <p:spPr>
          <a:xfrm>
            <a:off x="36575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1"/>
          <p:cNvCxnSpPr/>
          <p:nvPr userDrawn="1"/>
        </p:nvCxnSpPr>
        <p:spPr>
          <a:xfrm>
            <a:off x="54863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  <p:transition/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ítulo e 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8900" y="248532"/>
            <a:ext cx="8902700" cy="328458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Tabela 2"/>
          <p:cNvSpPr>
            <a:spLocks noGrp="1"/>
          </p:cNvSpPr>
          <p:nvPr>
            <p:ph type="tbl" idx="1"/>
          </p:nvPr>
        </p:nvSpPr>
        <p:spPr>
          <a:xfrm>
            <a:off x="152400" y="1058883"/>
            <a:ext cx="8826500" cy="5067300"/>
          </a:xfrm>
        </p:spPr>
        <p:txBody>
          <a:bodyPr/>
          <a:lstStyle/>
          <a:p>
            <a:endParaRPr lang="pt-BR"/>
          </a:p>
        </p:txBody>
      </p:sp>
    </p:spTree>
  </p:cSld>
  <p:clrMapOvr>
    <a:masterClrMapping/>
  </p:clrMapOvr>
  <p:transition/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342900" y="914400"/>
            <a:ext cx="845820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/>
          <p:nvPr userDrawn="1"/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52413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8" name="Espaço Reservado para Texto 16"/>
          <p:cNvSpPr>
            <a:spLocks noGrp="1"/>
          </p:cNvSpPr>
          <p:nvPr>
            <p:ph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10" name="Espaço Reservado para Número de Slide 4"/>
          <p:cNvSpPr txBox="1">
            <a:spLocks noGrp="1"/>
          </p:cNvSpPr>
          <p:nvPr userDrawn="1">
            <p:custDataLst>
              <p:tags r:id="rId1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pic>
        <p:nvPicPr>
          <p:cNvPr id="11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</p:spTree>
  </p:cSld>
  <p:clrMapOvr>
    <a:masterClrMapping/>
  </p:clrMapOvr>
  <p:transition/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373762" name="think-cell Slide" r:id="rId4" imgW="0" imgH="0" progId="">
              <p:embed/>
            </p:oleObj>
          </a:graphicData>
        </a:graphic>
      </p:graphicFrame>
      <p:pic>
        <p:nvPicPr>
          <p:cNvPr id="13" name="Picture 7" descr="logo"/>
          <p:cNvPicPr>
            <a:picLocks noChangeAspect="1" noChangeArrowheads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Straight Connector 8"/>
          <p:cNvCxnSpPr/>
          <p:nvPr userDrawn="1"/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ço Reservado para Texto 16"/>
          <p:cNvSpPr>
            <a:spLocks noGrp="1"/>
          </p:cNvSpPr>
          <p:nvPr>
            <p:ph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18" name="Espaço Reservado para Número de Slide 4"/>
          <p:cNvSpPr txBox="1">
            <a:spLocks noGrp="1"/>
          </p:cNvSpPr>
          <p:nvPr userDrawn="1">
            <p:custDataLst>
              <p:tags r:id="rId2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pic>
        <p:nvPicPr>
          <p:cNvPr id="19" name="Picture 7" descr="logo"/>
          <p:cNvPicPr>
            <a:picLocks noChangeAspect="1" noChangeArrowheads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568876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J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FETTIG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/ M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TODMAN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VISIT</a:t>
            </a:r>
          </a:p>
        </p:txBody>
      </p:sp>
    </p:spTree>
  </p:cSld>
  <p:clrMapOvr>
    <a:masterClrMapping/>
  </p:clrMapOvr>
  <p:transition/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342900" y="914400"/>
            <a:ext cx="845820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8" name="Espaço Reservado para Número de Slide 4"/>
          <p:cNvSpPr txBox="1">
            <a:spLocks noGrp="1"/>
          </p:cNvSpPr>
          <p:nvPr userDrawn="1">
            <p:custDataLst>
              <p:tags r:id="rId1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3568876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J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FETTIG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/ M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TODMAN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VISIT</a:t>
            </a:r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</p:spTree>
  </p:cSld>
  <p:clrMapOvr>
    <a:masterClrMapping/>
  </p:clrMapOvr>
  <p:transition/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05" indent="-342705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05" indent="-342705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375810" name="think-cell Slide" r:id="rId5" imgW="0" imgH="0" progId="">
              <p:embed/>
            </p:oleObj>
          </a:graphicData>
        </a:graphic>
      </p:graphicFrame>
      <p:cxnSp>
        <p:nvCxnSpPr>
          <p:cNvPr id="4" name="Straight Connector 8"/>
          <p:cNvCxnSpPr/>
          <p:nvPr>
            <p:custDataLst>
              <p:tags r:id="rId2"/>
            </p:custDataLst>
          </p:nvPr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ítulo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10" name="Retângulo 9"/>
          <p:cNvSpPr/>
          <p:nvPr userDrawn="1"/>
        </p:nvSpPr>
        <p:spPr bwMode="auto">
          <a:xfrm>
            <a:off x="323528" y="980728"/>
            <a:ext cx="6624736" cy="2592288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</p:spPr>
        <p:txBody>
          <a:bodyPr wrap="square" lIns="35981" tIns="35981" rIns="35981" bIns="35981" rtlCol="0" anchor="ctr">
            <a:noAutofit/>
          </a:bodyPr>
          <a:lstStyle/>
          <a:p>
            <a:pPr algn="ctr" defTabSz="913876"/>
            <a:endParaRPr lang="en-US" dirty="0" err="1">
              <a:solidFill>
                <a:srgbClr val="0C0C0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</p:spTree>
  </p:cSld>
  <p:clrMapOvr>
    <a:masterClrMapping/>
  </p:clrMapOvr>
  <p:transition/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423278" y="8036462"/>
            <a:ext cx="3666553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8467108" y="1692637"/>
            <a:ext cx="2398514" cy="2401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597" tIns="54799" rIns="109597" bIns="54799" anchor="ctr"/>
          <a:lstStyle/>
          <a:p>
            <a:pPr algn="ctr" defTabSz="112785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8606446" y="1838979"/>
            <a:ext cx="2121627" cy="1763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8606446" y="3157819"/>
            <a:ext cx="2121627" cy="3526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8464023" y="1985190"/>
            <a:ext cx="2403782" cy="992594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2100" cap="all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8464023" y="3293609"/>
            <a:ext cx="2403782" cy="657970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1800" cap="none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691922"/>
            <a:ext cx="7758687" cy="2402530"/>
          </a:xfrm>
          <a:prstGeom prst="rect">
            <a:avLst/>
          </a:prstGeom>
        </p:spPr>
        <p:txBody>
          <a:bodyPr lIns="109597" tIns="54799" rIns="109597" bIns="54799" anchor="ctr"/>
          <a:lstStyle>
            <a:lvl1pPr algn="r">
              <a:defRPr sz="33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941591" y="7073787"/>
            <a:ext cx="1781250" cy="611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299545" y="6915101"/>
            <a:ext cx="1567852" cy="929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357960" y="7038514"/>
            <a:ext cx="2066955" cy="6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6906310" y="5774343"/>
            <a:ext cx="1839450" cy="992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4853469" y="5786679"/>
            <a:ext cx="1555507" cy="97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257438" y="5864269"/>
            <a:ext cx="2255662" cy="80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423270" y="6943308"/>
            <a:ext cx="1581962" cy="862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4661236" y="7098458"/>
            <a:ext cx="1968193" cy="5501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5"/>
            <a:ext cx="10438960" cy="4511794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745764" y="7257154"/>
            <a:ext cx="950587" cy="516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334873" y="7350589"/>
            <a:ext cx="1181621" cy="3314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3276" y="7248335"/>
            <a:ext cx="1354455" cy="483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544837" y="7311800"/>
            <a:ext cx="1239820" cy="40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213314" y="7190151"/>
            <a:ext cx="1102259" cy="595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980545" y="7197204"/>
            <a:ext cx="934715" cy="585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6066830" y="7331194"/>
            <a:ext cx="1068750" cy="36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922089" y="7237747"/>
            <a:ext cx="940006" cy="55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206161" y="7331212"/>
            <a:ext cx="846534" cy="282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0022620" y="7207783"/>
            <a:ext cx="844770" cy="504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8570" y="7197195"/>
            <a:ext cx="1015841" cy="534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661239" y="7343546"/>
            <a:ext cx="1128713" cy="218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2865872" y="7355883"/>
            <a:ext cx="1366800" cy="213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703651" y="7377036"/>
            <a:ext cx="846534" cy="163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782812" y="7235990"/>
            <a:ext cx="809499" cy="440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7371905" y="7317089"/>
            <a:ext cx="989388" cy="27681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087" y="297657"/>
            <a:ext cx="10156827" cy="483687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899264" y="8110518"/>
            <a:ext cx="3573081" cy="320894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32307" y="8110508"/>
            <a:ext cx="507921" cy="22568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423274" y="8036462"/>
            <a:ext cx="3620699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2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2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9264263" y="89931"/>
            <a:ext cx="1832394" cy="934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10" y="282000"/>
            <a:ext cx="8793179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127949"/>
            <a:ext cx="7758687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8464026" y="1127949"/>
            <a:ext cx="2398140" cy="6767690"/>
          </a:xfrm>
          <a:prstGeom prst="rect">
            <a:avLst/>
          </a:prstGeom>
        </p:spPr>
        <p:txBody>
          <a:bodyPr lIns="109597" tIns="54799" rIns="109597" bIns="54799"/>
          <a:lstStyle>
            <a:lvl1pPr marL="0" indent="0">
              <a:defRPr sz="19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0431790" y="8036462"/>
            <a:ext cx="430321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423274" y="8036462"/>
            <a:ext cx="3620699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2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2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9264263" y="89931"/>
            <a:ext cx="1832394" cy="934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10" y="282000"/>
            <a:ext cx="8793179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127949"/>
            <a:ext cx="7758687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8464026" y="1127949"/>
            <a:ext cx="2398140" cy="6767690"/>
          </a:xfrm>
          <a:prstGeom prst="rect">
            <a:avLst/>
          </a:prstGeom>
        </p:spPr>
        <p:txBody>
          <a:bodyPr lIns="109597" tIns="54799" rIns="109597" bIns="54799"/>
          <a:lstStyle>
            <a:lvl1pPr marL="0" indent="0">
              <a:defRPr sz="19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0431790" y="8036462"/>
            <a:ext cx="430321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595623" y="7410009"/>
            <a:ext cx="9819833" cy="603139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12779" tIns="56391" rIns="112779" bIns="56391" anchor="ctr"/>
          <a:lstStyle>
            <a:lvl1pPr marL="422919" indent="-422919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2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423201" y="311364"/>
            <a:ext cx="9310424" cy="955623"/>
          </a:xfrm>
          <a:prstGeom prst="rect">
            <a:avLst/>
          </a:prstGeom>
        </p:spPr>
        <p:txBody>
          <a:bodyPr lIns="112779" tIns="56391" rIns="112779" bIns="56391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367554" y="439332"/>
            <a:ext cx="12980303" cy="490970"/>
          </a:xfrm>
          <a:prstGeom prst="rect">
            <a:avLst/>
          </a:prstGeom>
        </p:spPr>
        <p:txBody>
          <a:bodyPr lIns="139163" tIns="69582" rIns="139163" bIns="69582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232140" y="1611189"/>
            <a:ext cx="12883579" cy="7710500"/>
          </a:xfrm>
          <a:prstGeom prst="rect">
            <a:avLst/>
          </a:prstGeom>
        </p:spPr>
        <p:txBody>
          <a:bodyPr lIns="139163" tIns="69582" rIns="139163" bIns="69582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540" y="367172"/>
            <a:ext cx="12535376" cy="596647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514946" y="10004656"/>
            <a:ext cx="4409833" cy="395835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2998777" y="10004642"/>
            <a:ext cx="626868" cy="278391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522397" y="9913297"/>
            <a:ext cx="4525194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10449961" y="2087938"/>
            <a:ext cx="2960203" cy="29622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229" tIns="67616" rIns="135229" bIns="67616" anchor="ctr"/>
          <a:lstStyle/>
          <a:p>
            <a:pPr algn="ctr" defTabSz="139162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10621920" y="2268465"/>
            <a:ext cx="2618474" cy="2175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10621920" y="3895297"/>
            <a:ext cx="2618474" cy="4349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10446151" y="2448810"/>
            <a:ext cx="2966705" cy="1224404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600" cap="all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10446151" y="4062798"/>
            <a:ext cx="2966705" cy="811632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200" cap="none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2087056"/>
            <a:ext cx="9575634" cy="2963615"/>
          </a:xfrm>
          <a:prstGeom prst="rect">
            <a:avLst/>
          </a:prstGeom>
        </p:spPr>
        <p:txBody>
          <a:bodyPr lIns="135229" tIns="67616" rIns="135229" bIns="67616" anchor="ctr"/>
          <a:lstStyle>
            <a:lvl1pPr algn="r">
              <a:defRPr sz="41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567193" y="8725792"/>
            <a:ext cx="2198388" cy="754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1477336" y="8530049"/>
            <a:ext cx="1935015" cy="1146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910151" y="8682294"/>
            <a:ext cx="2550999" cy="835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8523645" y="7122865"/>
            <a:ext cx="2270216" cy="1224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990074" y="7138096"/>
            <a:ext cx="1919779" cy="1202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786085" y="7233791"/>
            <a:ext cx="2783898" cy="996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522397" y="8564844"/>
            <a:ext cx="1952429" cy="10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5752811" y="8756240"/>
            <a:ext cx="2429109" cy="6785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7"/>
            <a:ext cx="12883579" cy="5565476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0793862" y="8951970"/>
            <a:ext cx="1173198" cy="637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052566" y="9067255"/>
            <a:ext cx="1458336" cy="40888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2395" y="8941107"/>
            <a:ext cx="1671644" cy="595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609151" y="9019393"/>
            <a:ext cx="1530164" cy="502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965814" y="8869335"/>
            <a:ext cx="1360389" cy="735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444358" y="8878034"/>
            <a:ext cx="1153609" cy="722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7487579" y="9043329"/>
            <a:ext cx="1319033" cy="454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2245674" y="8928060"/>
            <a:ext cx="1160139" cy="68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659532" y="9043334"/>
            <a:ext cx="1044777" cy="3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2369734" y="8891094"/>
            <a:ext cx="1042600" cy="622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8929" y="8878036"/>
            <a:ext cx="1253733" cy="659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752810" y="9058545"/>
            <a:ext cx="1393038" cy="269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537009" y="9073771"/>
            <a:ext cx="1686880" cy="2631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102617" y="9099865"/>
            <a:ext cx="1044777" cy="202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10839589" y="8925890"/>
            <a:ext cx="999069" cy="543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098281" y="9025929"/>
            <a:ext cx="1221085" cy="341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422052"/>
            <a:ext cx="7543800" cy="774700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4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pic>
        <p:nvPicPr>
          <p:cNvPr id="4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 bwMode="auto">
          <a:xfrm>
            <a:off x="7284720" y="6419088"/>
            <a:ext cx="1859280" cy="43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11"/>
          <p:cNvCxnSpPr/>
          <p:nvPr userDrawn="1"/>
        </p:nvCxnSpPr>
        <p:spPr>
          <a:xfrm>
            <a:off x="-1" y="6408820"/>
            <a:ext cx="1828800" cy="1464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3"/>
          <p:cNvCxnSpPr/>
          <p:nvPr userDrawn="1"/>
        </p:nvCxnSpPr>
        <p:spPr>
          <a:xfrm>
            <a:off x="73151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9"/>
          <p:cNvCxnSpPr/>
          <p:nvPr userDrawn="1"/>
        </p:nvCxnSpPr>
        <p:spPr>
          <a:xfrm>
            <a:off x="18287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20"/>
          <p:cNvCxnSpPr/>
          <p:nvPr userDrawn="1"/>
        </p:nvCxnSpPr>
        <p:spPr>
          <a:xfrm>
            <a:off x="36575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1"/>
          <p:cNvCxnSpPr/>
          <p:nvPr userDrawn="1"/>
        </p:nvCxnSpPr>
        <p:spPr>
          <a:xfrm>
            <a:off x="54863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595623" y="7410009"/>
            <a:ext cx="9819833" cy="603139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12779" tIns="56391" rIns="112779" bIns="56391" anchor="ctr"/>
          <a:lstStyle>
            <a:lvl1pPr marL="422919" indent="-422919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2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423201" y="311364"/>
            <a:ext cx="9310424" cy="955623"/>
          </a:xfrm>
          <a:prstGeom prst="rect">
            <a:avLst/>
          </a:prstGeom>
        </p:spPr>
        <p:txBody>
          <a:bodyPr lIns="112779" tIns="56391" rIns="112779" bIns="56391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522390" y="9913297"/>
            <a:ext cx="4468602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4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4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1433795" y="110933"/>
            <a:ext cx="2261508" cy="1152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14" y="347864"/>
            <a:ext cx="10852386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1391373"/>
            <a:ext cx="9575634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10446155" y="1391373"/>
            <a:ext cx="2959742" cy="8348211"/>
          </a:xfrm>
          <a:prstGeom prst="rect">
            <a:avLst/>
          </a:prstGeom>
        </p:spPr>
        <p:txBody>
          <a:bodyPr lIns="135229" tIns="67616" rIns="135229" bIns="67616"/>
          <a:lstStyle>
            <a:lvl1pPr marL="0" indent="0">
              <a:defRPr sz="23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2874724" y="9913297"/>
            <a:ext cx="5310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735106" y="9140536"/>
            <a:ext cx="12119463" cy="743995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39154" tIns="69579" rIns="139154" bIns="69579" anchor="ctr"/>
          <a:lstStyle>
            <a:lvl1pPr marL="521830" indent="-52183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7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522307" y="384082"/>
            <a:ext cx="11490760" cy="1178799"/>
          </a:xfrm>
          <a:prstGeom prst="rect">
            <a:avLst/>
          </a:prstGeom>
        </p:spPr>
        <p:txBody>
          <a:bodyPr lIns="139154" tIns="69579" rIns="139154" bIns="69579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522397" y="9913297"/>
            <a:ext cx="4525194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10449961" y="2087938"/>
            <a:ext cx="2960203" cy="29622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229" tIns="67616" rIns="135229" bIns="67616" anchor="ctr"/>
          <a:lstStyle/>
          <a:p>
            <a:pPr algn="ctr" defTabSz="139162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10621920" y="2268465"/>
            <a:ext cx="2618474" cy="2175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10621920" y="3895297"/>
            <a:ext cx="2618474" cy="4349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10446151" y="2448810"/>
            <a:ext cx="2966705" cy="1224404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600" cap="all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10446151" y="4062798"/>
            <a:ext cx="2966705" cy="811632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200" cap="none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2087056"/>
            <a:ext cx="9575634" cy="2963615"/>
          </a:xfrm>
          <a:prstGeom prst="rect">
            <a:avLst/>
          </a:prstGeom>
        </p:spPr>
        <p:txBody>
          <a:bodyPr lIns="135229" tIns="67616" rIns="135229" bIns="67616" anchor="ctr"/>
          <a:lstStyle>
            <a:lvl1pPr algn="r">
              <a:defRPr sz="41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567193" y="8725792"/>
            <a:ext cx="2198388" cy="754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1477336" y="8530049"/>
            <a:ext cx="1935015" cy="1146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910151" y="8682294"/>
            <a:ext cx="2550999" cy="835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8523645" y="7122865"/>
            <a:ext cx="2270216" cy="1224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990074" y="7138096"/>
            <a:ext cx="1919779" cy="1202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786085" y="7233791"/>
            <a:ext cx="2783898" cy="996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522397" y="8564844"/>
            <a:ext cx="1952429" cy="10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5752811" y="8756240"/>
            <a:ext cx="2429109" cy="6785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7"/>
            <a:ext cx="12883579" cy="5565476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0793862" y="8951970"/>
            <a:ext cx="1173198" cy="637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052566" y="9067255"/>
            <a:ext cx="1458336" cy="40888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2395" y="8941107"/>
            <a:ext cx="1671644" cy="595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609151" y="9019393"/>
            <a:ext cx="1530164" cy="502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965814" y="8869335"/>
            <a:ext cx="1360389" cy="735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444358" y="8878034"/>
            <a:ext cx="1153609" cy="722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7487579" y="9043329"/>
            <a:ext cx="1319033" cy="454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2245674" y="8928060"/>
            <a:ext cx="1160139" cy="68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659532" y="9043334"/>
            <a:ext cx="1044777" cy="3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2369734" y="8891094"/>
            <a:ext cx="1042600" cy="622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8929" y="8878036"/>
            <a:ext cx="1253733" cy="659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752810" y="9058545"/>
            <a:ext cx="1393038" cy="269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537009" y="9073771"/>
            <a:ext cx="1686880" cy="2631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102617" y="9099865"/>
            <a:ext cx="1044777" cy="202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10839589" y="8925890"/>
            <a:ext cx="999069" cy="543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098281" y="9025929"/>
            <a:ext cx="1221085" cy="341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540" y="367172"/>
            <a:ext cx="12535376" cy="596647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514946" y="10004656"/>
            <a:ext cx="4409833" cy="395835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2998777" y="10004642"/>
            <a:ext cx="626868" cy="278391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367554" y="439332"/>
            <a:ext cx="12980303" cy="490970"/>
          </a:xfrm>
          <a:prstGeom prst="rect">
            <a:avLst/>
          </a:prstGeom>
        </p:spPr>
        <p:txBody>
          <a:bodyPr lIns="139163" tIns="69582" rIns="139163" bIns="69582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232140" y="1611189"/>
            <a:ext cx="12883579" cy="7710500"/>
          </a:xfrm>
          <a:prstGeom prst="rect">
            <a:avLst/>
          </a:prstGeom>
        </p:spPr>
        <p:txBody>
          <a:bodyPr lIns="139163" tIns="69582" rIns="139163" bIns="69582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522390" y="9913297"/>
            <a:ext cx="4468602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4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4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1433795" y="110933"/>
            <a:ext cx="2261508" cy="1152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14" y="347864"/>
            <a:ext cx="10852386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1391373"/>
            <a:ext cx="9575634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10446155" y="1391373"/>
            <a:ext cx="2959742" cy="8348211"/>
          </a:xfrm>
          <a:prstGeom prst="rect">
            <a:avLst/>
          </a:prstGeom>
        </p:spPr>
        <p:txBody>
          <a:bodyPr lIns="135229" tIns="67616" rIns="135229" bIns="67616"/>
          <a:lstStyle>
            <a:lvl1pPr marL="0" indent="0">
              <a:defRPr sz="23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2874724" y="9913297"/>
            <a:ext cx="5310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367554" y="439336"/>
            <a:ext cx="12980303" cy="490970"/>
          </a:xfrm>
          <a:prstGeom prst="rect">
            <a:avLst/>
          </a:prstGeom>
        </p:spPr>
        <p:txBody>
          <a:bodyPr lIns="139148" tIns="69576" rIns="139148" bIns="69576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232140" y="1611189"/>
            <a:ext cx="12883579" cy="7710500"/>
          </a:xfrm>
          <a:prstGeom prst="rect">
            <a:avLst/>
          </a:prstGeom>
        </p:spPr>
        <p:txBody>
          <a:bodyPr lIns="139148" tIns="69576" rIns="139148" bIns="69576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735106" y="9140536"/>
            <a:ext cx="12119463" cy="743995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39154" tIns="69579" rIns="139154" bIns="69579" anchor="ctr"/>
          <a:lstStyle>
            <a:lvl1pPr marL="521830" indent="-52183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7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522307" y="384082"/>
            <a:ext cx="11490760" cy="1178799"/>
          </a:xfrm>
          <a:prstGeom prst="rect">
            <a:avLst/>
          </a:prstGeom>
        </p:spPr>
        <p:txBody>
          <a:bodyPr lIns="139154" tIns="69579" rIns="139154" bIns="69579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423278" y="8036462"/>
            <a:ext cx="3666553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8467108" y="1692637"/>
            <a:ext cx="2398514" cy="2401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597" tIns="54799" rIns="109597" bIns="54799" anchor="ctr"/>
          <a:lstStyle/>
          <a:p>
            <a:pPr algn="ctr" defTabSz="112785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8606446" y="1838979"/>
            <a:ext cx="2121627" cy="1763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8606446" y="3157819"/>
            <a:ext cx="2121627" cy="3526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8464023" y="1985190"/>
            <a:ext cx="2403782" cy="992594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2100" cap="all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8464023" y="3293609"/>
            <a:ext cx="2403782" cy="657970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1800" cap="none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691922"/>
            <a:ext cx="7758687" cy="2402530"/>
          </a:xfrm>
          <a:prstGeom prst="rect">
            <a:avLst/>
          </a:prstGeom>
        </p:spPr>
        <p:txBody>
          <a:bodyPr lIns="109597" tIns="54799" rIns="109597" bIns="54799" anchor="ctr"/>
          <a:lstStyle>
            <a:lvl1pPr algn="r">
              <a:defRPr sz="33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941591" y="7073787"/>
            <a:ext cx="1781250" cy="611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299545" y="6915101"/>
            <a:ext cx="1567852" cy="929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357960" y="7038514"/>
            <a:ext cx="2066955" cy="6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6906310" y="5774343"/>
            <a:ext cx="1839450" cy="992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4853469" y="5786679"/>
            <a:ext cx="1555507" cy="97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257438" y="5864269"/>
            <a:ext cx="2255662" cy="80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423270" y="6943308"/>
            <a:ext cx="1581962" cy="862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4661236" y="7098458"/>
            <a:ext cx="1968193" cy="5501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5"/>
            <a:ext cx="10438960" cy="4511794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745764" y="7257154"/>
            <a:ext cx="950587" cy="516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334873" y="7350589"/>
            <a:ext cx="1181621" cy="3314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3276" y="7248335"/>
            <a:ext cx="1354455" cy="483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544837" y="7311800"/>
            <a:ext cx="1239820" cy="40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213314" y="7190151"/>
            <a:ext cx="1102259" cy="595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980545" y="7197204"/>
            <a:ext cx="934715" cy="585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6066830" y="7331194"/>
            <a:ext cx="1068750" cy="36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922089" y="7237747"/>
            <a:ext cx="940006" cy="55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206161" y="7331212"/>
            <a:ext cx="846534" cy="282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0022620" y="7207783"/>
            <a:ext cx="844770" cy="504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8570" y="7197195"/>
            <a:ext cx="1015841" cy="534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661239" y="7343546"/>
            <a:ext cx="1128713" cy="218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2865872" y="7355883"/>
            <a:ext cx="1366800" cy="213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703651" y="7377036"/>
            <a:ext cx="846534" cy="163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782812" y="7235990"/>
            <a:ext cx="809499" cy="440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7371905" y="7317089"/>
            <a:ext cx="989388" cy="27681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087" y="297657"/>
            <a:ext cx="10156827" cy="483687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899264" y="8110518"/>
            <a:ext cx="3573081" cy="320894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32307" y="8110508"/>
            <a:ext cx="507921" cy="22568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540" y="367172"/>
            <a:ext cx="12535376" cy="596647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514946" y="10004656"/>
            <a:ext cx="4409833" cy="395835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2998777" y="10004642"/>
            <a:ext cx="626868" cy="278391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423274" y="8036462"/>
            <a:ext cx="3620699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2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2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9264263" y="89931"/>
            <a:ext cx="1832394" cy="934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10" y="282000"/>
            <a:ext cx="8793179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127949"/>
            <a:ext cx="7758687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8464026" y="1127949"/>
            <a:ext cx="2398140" cy="6767690"/>
          </a:xfrm>
          <a:prstGeom prst="rect">
            <a:avLst/>
          </a:prstGeom>
        </p:spPr>
        <p:txBody>
          <a:bodyPr lIns="109597" tIns="54799" rIns="109597" bIns="54799"/>
          <a:lstStyle>
            <a:lvl1pPr marL="0" indent="0">
              <a:defRPr sz="19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0431790" y="8036462"/>
            <a:ext cx="430321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297817" y="356162"/>
            <a:ext cx="10517331" cy="398017"/>
          </a:xfrm>
          <a:prstGeom prst="rect">
            <a:avLst/>
          </a:prstGeom>
        </p:spPr>
        <p:txBody>
          <a:bodyPr lIns="112772" tIns="56388" rIns="112772" bIns="56388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188090" y="1306154"/>
            <a:ext cx="10438960" cy="6250713"/>
          </a:xfrm>
          <a:prstGeom prst="rect">
            <a:avLst/>
          </a:prstGeom>
        </p:spPr>
        <p:txBody>
          <a:bodyPr lIns="112772" tIns="56388" rIns="112772" bIns="56388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595623" y="7410009"/>
            <a:ext cx="9819833" cy="603139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12779" tIns="56391" rIns="112779" bIns="56391" anchor="ctr"/>
          <a:lstStyle>
            <a:lvl1pPr marL="422919" indent="-422919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2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423201" y="311364"/>
            <a:ext cx="9310424" cy="955623"/>
          </a:xfrm>
          <a:prstGeom prst="rect">
            <a:avLst/>
          </a:prstGeom>
        </p:spPr>
        <p:txBody>
          <a:bodyPr lIns="112779" tIns="56391" rIns="112779" bIns="56391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5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0" y="-7936"/>
            <a:ext cx="9144000" cy="6367463"/>
          </a:xfrm>
          <a:prstGeom prst="rect">
            <a:avLst/>
          </a:prstGeom>
          <a:solidFill>
            <a:srgbClr val="C6DE89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07" tIns="45705" rIns="91407" bIns="45705" anchor="ctr"/>
          <a:lstStyle/>
          <a:p>
            <a:pPr>
              <a:defRPr/>
            </a:pPr>
            <a:r>
              <a:rPr lang="en-US" dirty="0">
                <a:solidFill>
                  <a:srgbClr val="0C0C0C"/>
                </a:solidFill>
              </a:rPr>
              <a:t> 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6408738"/>
            <a:ext cx="9144000" cy="11112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0" y="1"/>
            <a:ext cx="9144000" cy="6367463"/>
          </a:xfrm>
          <a:prstGeom prst="rect">
            <a:avLst/>
          </a:prstGeom>
          <a:solidFill>
            <a:srgbClr val="F5643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07" tIns="45705" rIns="91407" bIns="45705" anchor="ctr"/>
          <a:lstStyle/>
          <a:p>
            <a:pPr>
              <a:defRPr/>
            </a:pPr>
            <a:r>
              <a:rPr lang="en-US" dirty="0">
                <a:solidFill>
                  <a:srgbClr val="0C0C0C"/>
                </a:solidFill>
              </a:rPr>
              <a:t> 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6408738"/>
            <a:ext cx="9144000" cy="11112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Figura1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2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 r="391"/>
          <a:stretch>
            <a:fillRect/>
          </a:stretch>
        </p:blipFill>
        <p:spPr bwMode="auto">
          <a:xfrm>
            <a:off x="5441955" y="5176853"/>
            <a:ext cx="32385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422052"/>
            <a:ext cx="7543800" cy="774700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4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pic>
        <p:nvPicPr>
          <p:cNvPr id="4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 bwMode="auto">
          <a:xfrm>
            <a:off x="7284720" y="6419088"/>
            <a:ext cx="1859280" cy="43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11"/>
          <p:cNvCxnSpPr/>
          <p:nvPr userDrawn="1"/>
        </p:nvCxnSpPr>
        <p:spPr>
          <a:xfrm>
            <a:off x="-1" y="6408820"/>
            <a:ext cx="1828800" cy="1464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3"/>
          <p:cNvCxnSpPr/>
          <p:nvPr userDrawn="1"/>
        </p:nvCxnSpPr>
        <p:spPr>
          <a:xfrm>
            <a:off x="73151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9"/>
          <p:cNvCxnSpPr/>
          <p:nvPr userDrawn="1"/>
        </p:nvCxnSpPr>
        <p:spPr>
          <a:xfrm>
            <a:off x="18287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20"/>
          <p:cNvCxnSpPr/>
          <p:nvPr userDrawn="1"/>
        </p:nvCxnSpPr>
        <p:spPr>
          <a:xfrm>
            <a:off x="36575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1"/>
          <p:cNvCxnSpPr/>
          <p:nvPr userDrawn="1"/>
        </p:nvCxnSpPr>
        <p:spPr>
          <a:xfrm>
            <a:off x="54863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  <p:transition/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522397" y="9913297"/>
            <a:ext cx="4525194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10449961" y="2087938"/>
            <a:ext cx="2960203" cy="29622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229" tIns="67616" rIns="135229" bIns="67616" anchor="ctr"/>
          <a:lstStyle/>
          <a:p>
            <a:pPr algn="ctr" defTabSz="139162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10621920" y="2268465"/>
            <a:ext cx="2618474" cy="2175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10621920" y="3895297"/>
            <a:ext cx="2618474" cy="4349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10446151" y="2448810"/>
            <a:ext cx="2966705" cy="1224404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600" cap="all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10446151" y="4062798"/>
            <a:ext cx="2966705" cy="811632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200" cap="none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2087056"/>
            <a:ext cx="9575634" cy="2963615"/>
          </a:xfrm>
          <a:prstGeom prst="rect">
            <a:avLst/>
          </a:prstGeom>
        </p:spPr>
        <p:txBody>
          <a:bodyPr lIns="135229" tIns="67616" rIns="135229" bIns="67616" anchor="ctr"/>
          <a:lstStyle>
            <a:lvl1pPr algn="r">
              <a:defRPr sz="41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ítulo e 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8900" y="248532"/>
            <a:ext cx="8902700" cy="328458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Tabela 2"/>
          <p:cNvSpPr>
            <a:spLocks noGrp="1"/>
          </p:cNvSpPr>
          <p:nvPr>
            <p:ph type="tbl" idx="1"/>
          </p:nvPr>
        </p:nvSpPr>
        <p:spPr>
          <a:xfrm>
            <a:off x="152400" y="1058883"/>
            <a:ext cx="8826500" cy="5067300"/>
          </a:xfrm>
        </p:spPr>
        <p:txBody>
          <a:bodyPr/>
          <a:lstStyle/>
          <a:p>
            <a:endParaRPr lang="pt-BR"/>
          </a:p>
        </p:txBody>
      </p:sp>
    </p:spTree>
  </p:cSld>
  <p:clrMapOvr>
    <a:masterClrMapping/>
  </p:clrMapOvr>
  <p:transition/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342900" y="914400"/>
            <a:ext cx="845820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/>
          <p:nvPr userDrawn="1"/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52413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8" name="Espaço Reservado para Texto 16"/>
          <p:cNvSpPr>
            <a:spLocks noGrp="1"/>
          </p:cNvSpPr>
          <p:nvPr>
            <p:ph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10" name="Espaço Reservado para Número de Slide 4"/>
          <p:cNvSpPr txBox="1">
            <a:spLocks noGrp="1"/>
          </p:cNvSpPr>
          <p:nvPr userDrawn="1">
            <p:custDataLst>
              <p:tags r:id="rId1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pic>
        <p:nvPicPr>
          <p:cNvPr id="11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</p:spTree>
  </p:cSld>
  <p:clrMapOvr>
    <a:masterClrMapping/>
  </p:clrMapOvr>
  <p:transition/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582658" name="think-cell Slide" r:id="rId4" imgW="0" imgH="0" progId="">
              <p:embed/>
            </p:oleObj>
          </a:graphicData>
        </a:graphic>
      </p:graphicFrame>
      <p:pic>
        <p:nvPicPr>
          <p:cNvPr id="13" name="Picture 7" descr="logo"/>
          <p:cNvPicPr>
            <a:picLocks noChangeAspect="1" noChangeArrowheads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Straight Connector 8"/>
          <p:cNvCxnSpPr/>
          <p:nvPr userDrawn="1"/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ço Reservado para Texto 16"/>
          <p:cNvSpPr>
            <a:spLocks noGrp="1"/>
          </p:cNvSpPr>
          <p:nvPr>
            <p:ph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18" name="Espaço Reservado para Número de Slide 4"/>
          <p:cNvSpPr txBox="1">
            <a:spLocks noGrp="1"/>
          </p:cNvSpPr>
          <p:nvPr userDrawn="1">
            <p:custDataLst>
              <p:tags r:id="rId2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pic>
        <p:nvPicPr>
          <p:cNvPr id="19" name="Picture 7" descr="logo"/>
          <p:cNvPicPr>
            <a:picLocks noChangeAspect="1" noChangeArrowheads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568876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J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FETTIG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/ M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TODMAN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VISIT</a:t>
            </a:r>
          </a:p>
        </p:txBody>
      </p:sp>
    </p:spTree>
  </p:cSld>
  <p:clrMapOvr>
    <a:masterClrMapping/>
  </p:clrMapOvr>
  <p:transition/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342900" y="914400"/>
            <a:ext cx="845820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8" name="Espaço Reservado para Número de Slide 4"/>
          <p:cNvSpPr txBox="1">
            <a:spLocks noGrp="1"/>
          </p:cNvSpPr>
          <p:nvPr userDrawn="1">
            <p:custDataLst>
              <p:tags r:id="rId1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3568876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J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FETTIG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/ M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TODMAN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VISIT</a:t>
            </a:r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</p:spTree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567193" y="8725792"/>
            <a:ext cx="2198388" cy="754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1477336" y="8530049"/>
            <a:ext cx="1935015" cy="1146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910151" y="8682294"/>
            <a:ext cx="2550999" cy="835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8523645" y="7122865"/>
            <a:ext cx="2270216" cy="1224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990074" y="7138096"/>
            <a:ext cx="1919779" cy="1202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786085" y="7233791"/>
            <a:ext cx="2783898" cy="996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522397" y="8564844"/>
            <a:ext cx="1952429" cy="10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5752811" y="8756240"/>
            <a:ext cx="2429109" cy="6785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7"/>
            <a:ext cx="12883579" cy="5565476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05" indent="-342705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05" indent="-342705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584706" name="think-cell Slide" r:id="rId5" imgW="0" imgH="0" progId="">
              <p:embed/>
            </p:oleObj>
          </a:graphicData>
        </a:graphic>
      </p:graphicFrame>
      <p:cxnSp>
        <p:nvCxnSpPr>
          <p:cNvPr id="4" name="Straight Connector 8"/>
          <p:cNvCxnSpPr/>
          <p:nvPr>
            <p:custDataLst>
              <p:tags r:id="rId2"/>
            </p:custDataLst>
          </p:nvPr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ítulo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10" name="Retângulo 9"/>
          <p:cNvSpPr/>
          <p:nvPr userDrawn="1"/>
        </p:nvSpPr>
        <p:spPr bwMode="auto">
          <a:xfrm>
            <a:off x="323528" y="980728"/>
            <a:ext cx="6624736" cy="2592288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</p:spPr>
        <p:txBody>
          <a:bodyPr wrap="square" lIns="35981" tIns="35981" rIns="35981" bIns="35981" rtlCol="0" anchor="ctr">
            <a:noAutofit/>
          </a:bodyPr>
          <a:lstStyle/>
          <a:p>
            <a:pPr algn="ctr" defTabSz="913876"/>
            <a:endParaRPr lang="en-US" dirty="0" err="1">
              <a:solidFill>
                <a:srgbClr val="0C0C0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</p:spTree>
  </p:cSld>
  <p:clrMapOvr>
    <a:masterClrMapping/>
  </p:clrMapOvr>
  <p:transition/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423278" y="8036462"/>
            <a:ext cx="3666553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8467108" y="1692637"/>
            <a:ext cx="2398514" cy="2401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597" tIns="54799" rIns="109597" bIns="54799" anchor="ctr"/>
          <a:lstStyle/>
          <a:p>
            <a:pPr algn="ctr" defTabSz="112785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8606446" y="1838979"/>
            <a:ext cx="2121627" cy="1763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8606446" y="3157819"/>
            <a:ext cx="2121627" cy="3526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8464023" y="1985190"/>
            <a:ext cx="2403782" cy="992594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2100" cap="all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8464023" y="3293609"/>
            <a:ext cx="2403782" cy="657970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1800" cap="none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691922"/>
            <a:ext cx="7758687" cy="2402530"/>
          </a:xfrm>
          <a:prstGeom prst="rect">
            <a:avLst/>
          </a:prstGeom>
        </p:spPr>
        <p:txBody>
          <a:bodyPr lIns="109597" tIns="54799" rIns="109597" bIns="54799" anchor="ctr"/>
          <a:lstStyle>
            <a:lvl1pPr algn="r">
              <a:defRPr sz="33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941591" y="7073787"/>
            <a:ext cx="1781250" cy="611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299545" y="6915101"/>
            <a:ext cx="1567852" cy="929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357960" y="7038514"/>
            <a:ext cx="2066955" cy="6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6906310" y="5774343"/>
            <a:ext cx="1839450" cy="992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4853469" y="5786679"/>
            <a:ext cx="1555507" cy="97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257438" y="5864269"/>
            <a:ext cx="2255662" cy="80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423270" y="6943308"/>
            <a:ext cx="1581962" cy="862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4661236" y="7098458"/>
            <a:ext cx="1968193" cy="5501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5"/>
            <a:ext cx="10438960" cy="4511794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0793862" y="8951970"/>
            <a:ext cx="1173198" cy="637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052566" y="9067255"/>
            <a:ext cx="1458336" cy="40888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2395" y="8941107"/>
            <a:ext cx="1671644" cy="595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609151" y="9019393"/>
            <a:ext cx="1530164" cy="502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965814" y="8869335"/>
            <a:ext cx="1360389" cy="735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444358" y="8878034"/>
            <a:ext cx="1153609" cy="722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7487579" y="9043329"/>
            <a:ext cx="1319033" cy="454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2245674" y="8928060"/>
            <a:ext cx="1160139" cy="68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745764" y="7257154"/>
            <a:ext cx="950587" cy="516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334873" y="7350589"/>
            <a:ext cx="1181621" cy="3314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3276" y="7248335"/>
            <a:ext cx="1354455" cy="483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544837" y="7311800"/>
            <a:ext cx="1239820" cy="40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213314" y="7190151"/>
            <a:ext cx="1102259" cy="595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980545" y="7197204"/>
            <a:ext cx="934715" cy="585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6066830" y="7331194"/>
            <a:ext cx="1068750" cy="36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922089" y="7237747"/>
            <a:ext cx="940006" cy="55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206161" y="7331212"/>
            <a:ext cx="846534" cy="282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0022620" y="7207783"/>
            <a:ext cx="844770" cy="504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8570" y="7197195"/>
            <a:ext cx="1015841" cy="534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661239" y="7343546"/>
            <a:ext cx="1128713" cy="218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2865872" y="7355883"/>
            <a:ext cx="1366800" cy="213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703651" y="7377036"/>
            <a:ext cx="846534" cy="163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782812" y="7235990"/>
            <a:ext cx="809499" cy="440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7371905" y="7317089"/>
            <a:ext cx="989388" cy="27681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087" y="297657"/>
            <a:ext cx="10156827" cy="483687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899264" y="8110518"/>
            <a:ext cx="3573081" cy="320894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32307" y="8110508"/>
            <a:ext cx="507921" cy="22568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423274" y="8036462"/>
            <a:ext cx="3620699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2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2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9264263" y="89931"/>
            <a:ext cx="1832394" cy="934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10" y="282000"/>
            <a:ext cx="8793179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127949"/>
            <a:ext cx="7758687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8464026" y="1127949"/>
            <a:ext cx="2398140" cy="6767690"/>
          </a:xfrm>
          <a:prstGeom prst="rect">
            <a:avLst/>
          </a:prstGeom>
        </p:spPr>
        <p:txBody>
          <a:bodyPr lIns="109597" tIns="54799" rIns="109597" bIns="54799"/>
          <a:lstStyle>
            <a:lvl1pPr marL="0" indent="0">
              <a:defRPr sz="19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0431790" y="8036462"/>
            <a:ext cx="430321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595623" y="7410009"/>
            <a:ext cx="9819833" cy="603139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12779" tIns="56391" rIns="112779" bIns="56391" anchor="ctr"/>
          <a:lstStyle>
            <a:lvl1pPr marL="422919" indent="-422919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2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423201" y="311364"/>
            <a:ext cx="9310424" cy="955623"/>
          </a:xfrm>
          <a:prstGeom prst="rect">
            <a:avLst/>
          </a:prstGeom>
        </p:spPr>
        <p:txBody>
          <a:bodyPr lIns="112779" tIns="56391" rIns="112779" bIns="56391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367554" y="439332"/>
            <a:ext cx="12980303" cy="490970"/>
          </a:xfrm>
          <a:prstGeom prst="rect">
            <a:avLst/>
          </a:prstGeom>
        </p:spPr>
        <p:txBody>
          <a:bodyPr lIns="139163" tIns="69582" rIns="139163" bIns="69582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232140" y="1611189"/>
            <a:ext cx="12883579" cy="7710500"/>
          </a:xfrm>
          <a:prstGeom prst="rect">
            <a:avLst/>
          </a:prstGeom>
        </p:spPr>
        <p:txBody>
          <a:bodyPr lIns="139163" tIns="69582" rIns="139163" bIns="69582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540" y="367172"/>
            <a:ext cx="12535376" cy="596647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514946" y="10004656"/>
            <a:ext cx="4409833" cy="395835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2998777" y="10004642"/>
            <a:ext cx="626868" cy="278391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522397" y="9913297"/>
            <a:ext cx="4525194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10449961" y="2087938"/>
            <a:ext cx="2960203" cy="29622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229" tIns="67616" rIns="135229" bIns="67616" anchor="ctr"/>
          <a:lstStyle/>
          <a:p>
            <a:pPr algn="ctr" defTabSz="139162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10621920" y="2268465"/>
            <a:ext cx="2618474" cy="2175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10621920" y="3895297"/>
            <a:ext cx="2618474" cy="4349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10446151" y="2448810"/>
            <a:ext cx="2966705" cy="1224404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600" cap="all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10446151" y="4062798"/>
            <a:ext cx="2966705" cy="811632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200" cap="none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2087056"/>
            <a:ext cx="9575634" cy="2963615"/>
          </a:xfrm>
          <a:prstGeom prst="rect">
            <a:avLst/>
          </a:prstGeom>
        </p:spPr>
        <p:txBody>
          <a:bodyPr lIns="135229" tIns="67616" rIns="135229" bIns="67616" anchor="ctr"/>
          <a:lstStyle>
            <a:lvl1pPr algn="r">
              <a:defRPr sz="41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659532" y="9043334"/>
            <a:ext cx="1044777" cy="3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2369734" y="8891094"/>
            <a:ext cx="1042600" cy="622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8929" y="8878036"/>
            <a:ext cx="1253733" cy="659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752810" y="9058545"/>
            <a:ext cx="1393038" cy="269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537009" y="9073771"/>
            <a:ext cx="1686880" cy="2631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102617" y="9099865"/>
            <a:ext cx="1044777" cy="202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10839589" y="8925890"/>
            <a:ext cx="999069" cy="543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098281" y="9025929"/>
            <a:ext cx="1221085" cy="341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567193" y="8725792"/>
            <a:ext cx="2198388" cy="754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1477336" y="8530049"/>
            <a:ext cx="1935015" cy="1146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910151" y="8682294"/>
            <a:ext cx="2550999" cy="835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8523645" y="7122865"/>
            <a:ext cx="2270216" cy="1224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990074" y="7138096"/>
            <a:ext cx="1919779" cy="1202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786085" y="7233791"/>
            <a:ext cx="2783898" cy="996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522397" y="8564844"/>
            <a:ext cx="1952429" cy="10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5752811" y="8756240"/>
            <a:ext cx="2429109" cy="6785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7"/>
            <a:ext cx="12883579" cy="5565476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0793862" y="8951970"/>
            <a:ext cx="1173198" cy="637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052566" y="9067255"/>
            <a:ext cx="1458336" cy="40888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2395" y="8941107"/>
            <a:ext cx="1671644" cy="595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609151" y="9019393"/>
            <a:ext cx="1530164" cy="502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965814" y="8869335"/>
            <a:ext cx="1360389" cy="735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444358" y="8878034"/>
            <a:ext cx="1153609" cy="722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7487579" y="9043329"/>
            <a:ext cx="1319033" cy="454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2245674" y="8928060"/>
            <a:ext cx="1160139" cy="68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659532" y="9043334"/>
            <a:ext cx="1044777" cy="3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2369734" y="8891094"/>
            <a:ext cx="1042600" cy="622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8929" y="8878036"/>
            <a:ext cx="1253733" cy="659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752810" y="9058545"/>
            <a:ext cx="1393038" cy="269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537009" y="9073771"/>
            <a:ext cx="1686880" cy="2631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102617" y="9099865"/>
            <a:ext cx="1044777" cy="202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10839589" y="8925890"/>
            <a:ext cx="999069" cy="543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098281" y="9025929"/>
            <a:ext cx="1221085" cy="341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522390" y="9913297"/>
            <a:ext cx="4468602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4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4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1433795" y="110933"/>
            <a:ext cx="2261508" cy="1152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14" y="347864"/>
            <a:ext cx="10852386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1391373"/>
            <a:ext cx="9575634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10446155" y="1391373"/>
            <a:ext cx="2959742" cy="8348211"/>
          </a:xfrm>
          <a:prstGeom prst="rect">
            <a:avLst/>
          </a:prstGeom>
        </p:spPr>
        <p:txBody>
          <a:bodyPr lIns="135229" tIns="67616" rIns="135229" bIns="67616"/>
          <a:lstStyle>
            <a:lvl1pPr marL="0" indent="0">
              <a:defRPr sz="23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2874724" y="9913297"/>
            <a:ext cx="5310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735106" y="9140536"/>
            <a:ext cx="12119463" cy="743995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39154" tIns="69579" rIns="139154" bIns="69579" anchor="ctr"/>
          <a:lstStyle>
            <a:lvl1pPr marL="521830" indent="-52183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7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522307" y="384082"/>
            <a:ext cx="11490760" cy="1178799"/>
          </a:xfrm>
          <a:prstGeom prst="rect">
            <a:avLst/>
          </a:prstGeom>
        </p:spPr>
        <p:txBody>
          <a:bodyPr lIns="139154" tIns="69579" rIns="139154" bIns="69579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522397" y="9913297"/>
            <a:ext cx="4525194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10449961" y="2087938"/>
            <a:ext cx="2960203" cy="29622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229" tIns="67616" rIns="135229" bIns="67616" anchor="ctr"/>
          <a:lstStyle/>
          <a:p>
            <a:pPr algn="ctr" defTabSz="139162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10621920" y="2268465"/>
            <a:ext cx="2618474" cy="2175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10621920" y="3895297"/>
            <a:ext cx="2618474" cy="4349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10446151" y="2448810"/>
            <a:ext cx="2966705" cy="1224404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600" cap="all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10446151" y="4062798"/>
            <a:ext cx="2966705" cy="811632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200" cap="none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2087056"/>
            <a:ext cx="9575634" cy="2963615"/>
          </a:xfrm>
          <a:prstGeom prst="rect">
            <a:avLst/>
          </a:prstGeom>
        </p:spPr>
        <p:txBody>
          <a:bodyPr lIns="135229" tIns="67616" rIns="135229" bIns="67616" anchor="ctr"/>
          <a:lstStyle>
            <a:lvl1pPr algn="r">
              <a:defRPr sz="41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567193" y="8725792"/>
            <a:ext cx="2198388" cy="754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1477336" y="8530049"/>
            <a:ext cx="1935015" cy="1146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910151" y="8682294"/>
            <a:ext cx="2550999" cy="835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8523645" y="7122865"/>
            <a:ext cx="2270216" cy="1224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990074" y="7138096"/>
            <a:ext cx="1919779" cy="1202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786085" y="7233791"/>
            <a:ext cx="2783898" cy="996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522397" y="8564844"/>
            <a:ext cx="1952429" cy="10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5752811" y="8756240"/>
            <a:ext cx="2429109" cy="6785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7"/>
            <a:ext cx="12883579" cy="5565476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0793862" y="8951970"/>
            <a:ext cx="1173198" cy="637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052566" y="9067255"/>
            <a:ext cx="1458336" cy="40888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2395" y="8941107"/>
            <a:ext cx="1671644" cy="595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609151" y="9019393"/>
            <a:ext cx="1530164" cy="502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965814" y="8869335"/>
            <a:ext cx="1360389" cy="735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444358" y="8878034"/>
            <a:ext cx="1153609" cy="722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7487579" y="9043329"/>
            <a:ext cx="1319033" cy="454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2245674" y="8928060"/>
            <a:ext cx="1160139" cy="68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659532" y="9043334"/>
            <a:ext cx="1044777" cy="3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2369734" y="8891094"/>
            <a:ext cx="1042600" cy="622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8929" y="8878036"/>
            <a:ext cx="1253733" cy="659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752810" y="9058545"/>
            <a:ext cx="1393038" cy="269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537009" y="9073771"/>
            <a:ext cx="1686880" cy="2631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102617" y="9099865"/>
            <a:ext cx="1044777" cy="202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10839589" y="8925890"/>
            <a:ext cx="999069" cy="543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098281" y="9025929"/>
            <a:ext cx="1221085" cy="341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540" y="367172"/>
            <a:ext cx="12535376" cy="596647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514946" y="10004656"/>
            <a:ext cx="4409833" cy="395835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2998777" y="10004642"/>
            <a:ext cx="626868" cy="278391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522390" y="9913297"/>
            <a:ext cx="4468602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4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4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1433795" y="110933"/>
            <a:ext cx="2261508" cy="1152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14" y="347864"/>
            <a:ext cx="10852386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1391373"/>
            <a:ext cx="9575634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10446155" y="1391373"/>
            <a:ext cx="2959742" cy="8348211"/>
          </a:xfrm>
          <a:prstGeom prst="rect">
            <a:avLst/>
          </a:prstGeom>
        </p:spPr>
        <p:txBody>
          <a:bodyPr lIns="135229" tIns="67616" rIns="135229" bIns="67616"/>
          <a:lstStyle>
            <a:lvl1pPr marL="0" indent="0">
              <a:defRPr sz="23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2874724" y="9913297"/>
            <a:ext cx="5310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367554" y="439336"/>
            <a:ext cx="12980303" cy="490970"/>
          </a:xfrm>
          <a:prstGeom prst="rect">
            <a:avLst/>
          </a:prstGeom>
        </p:spPr>
        <p:txBody>
          <a:bodyPr lIns="139148" tIns="69576" rIns="139148" bIns="69576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232140" y="1611189"/>
            <a:ext cx="12883579" cy="7710500"/>
          </a:xfrm>
          <a:prstGeom prst="rect">
            <a:avLst/>
          </a:prstGeom>
        </p:spPr>
        <p:txBody>
          <a:bodyPr lIns="139148" tIns="69576" rIns="139148" bIns="69576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735106" y="9140536"/>
            <a:ext cx="12119463" cy="743995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39154" tIns="69579" rIns="139154" bIns="69579" anchor="ctr"/>
          <a:lstStyle>
            <a:lvl1pPr marL="521830" indent="-52183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7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522307" y="384082"/>
            <a:ext cx="11490760" cy="1178799"/>
          </a:xfrm>
          <a:prstGeom prst="rect">
            <a:avLst/>
          </a:prstGeom>
        </p:spPr>
        <p:txBody>
          <a:bodyPr lIns="139154" tIns="69579" rIns="139154" bIns="69579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423278" y="8036462"/>
            <a:ext cx="3666553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8467108" y="1692637"/>
            <a:ext cx="2398514" cy="2401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597" tIns="54799" rIns="109597" bIns="54799" anchor="ctr"/>
          <a:lstStyle/>
          <a:p>
            <a:pPr algn="ctr" defTabSz="112785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8606446" y="1838979"/>
            <a:ext cx="2121627" cy="1763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8606446" y="3157819"/>
            <a:ext cx="2121627" cy="3526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8464023" y="1985190"/>
            <a:ext cx="2403782" cy="992594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2100" cap="all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8464023" y="3293609"/>
            <a:ext cx="2403782" cy="657970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1800" cap="none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691922"/>
            <a:ext cx="7758687" cy="2402530"/>
          </a:xfrm>
          <a:prstGeom prst="rect">
            <a:avLst/>
          </a:prstGeom>
        </p:spPr>
        <p:txBody>
          <a:bodyPr lIns="109597" tIns="54799" rIns="109597" bIns="54799" anchor="ctr"/>
          <a:lstStyle>
            <a:lvl1pPr algn="r">
              <a:defRPr sz="33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941591" y="7073787"/>
            <a:ext cx="1781250" cy="611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299545" y="6915101"/>
            <a:ext cx="1567852" cy="929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357960" y="7038514"/>
            <a:ext cx="2066955" cy="6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6906310" y="5774343"/>
            <a:ext cx="1839450" cy="992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4853469" y="5786679"/>
            <a:ext cx="1555507" cy="97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257438" y="5864269"/>
            <a:ext cx="2255662" cy="80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423270" y="6943308"/>
            <a:ext cx="1581962" cy="862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4661236" y="7098458"/>
            <a:ext cx="1968193" cy="5501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5"/>
            <a:ext cx="10438960" cy="4511794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745764" y="7257154"/>
            <a:ext cx="950587" cy="516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334873" y="7350589"/>
            <a:ext cx="1181621" cy="3314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3276" y="7248335"/>
            <a:ext cx="1354455" cy="483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544837" y="7311800"/>
            <a:ext cx="1239820" cy="40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213314" y="7190151"/>
            <a:ext cx="1102259" cy="595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980545" y="7197204"/>
            <a:ext cx="934715" cy="585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6066830" y="7331194"/>
            <a:ext cx="1068750" cy="36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922089" y="7237747"/>
            <a:ext cx="940006" cy="55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206161" y="7331212"/>
            <a:ext cx="846534" cy="282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0022620" y="7207783"/>
            <a:ext cx="844770" cy="504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8570" y="7197195"/>
            <a:ext cx="1015841" cy="534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661239" y="7343546"/>
            <a:ext cx="1128713" cy="218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2865872" y="7355883"/>
            <a:ext cx="1366800" cy="213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703651" y="7377036"/>
            <a:ext cx="846534" cy="163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782812" y="7235990"/>
            <a:ext cx="809499" cy="440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7371905" y="7317089"/>
            <a:ext cx="989388" cy="27681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087" y="297657"/>
            <a:ext cx="10156827" cy="483687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899264" y="8110518"/>
            <a:ext cx="3573081" cy="320894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32307" y="8110508"/>
            <a:ext cx="507921" cy="22568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423274" y="8036462"/>
            <a:ext cx="3620699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2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2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9264263" y="89931"/>
            <a:ext cx="1832394" cy="934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10" y="282000"/>
            <a:ext cx="8793179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127949"/>
            <a:ext cx="7758687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8464026" y="1127949"/>
            <a:ext cx="2398140" cy="6767690"/>
          </a:xfrm>
          <a:prstGeom prst="rect">
            <a:avLst/>
          </a:prstGeom>
        </p:spPr>
        <p:txBody>
          <a:bodyPr lIns="109597" tIns="54799" rIns="109597" bIns="54799"/>
          <a:lstStyle>
            <a:lvl1pPr marL="0" indent="0">
              <a:defRPr sz="19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0431790" y="8036462"/>
            <a:ext cx="430321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297817" y="356162"/>
            <a:ext cx="10517331" cy="398017"/>
          </a:xfrm>
          <a:prstGeom prst="rect">
            <a:avLst/>
          </a:prstGeom>
        </p:spPr>
        <p:txBody>
          <a:bodyPr lIns="112772" tIns="56388" rIns="112772" bIns="56388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188090" y="1306154"/>
            <a:ext cx="10438960" cy="6250713"/>
          </a:xfrm>
          <a:prstGeom prst="rect">
            <a:avLst/>
          </a:prstGeom>
        </p:spPr>
        <p:txBody>
          <a:bodyPr lIns="112772" tIns="56388" rIns="112772" bIns="56388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595623" y="7410009"/>
            <a:ext cx="9819833" cy="603139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12779" tIns="56391" rIns="112779" bIns="56391" anchor="ctr"/>
          <a:lstStyle>
            <a:lvl1pPr marL="422919" indent="-422919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2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423201" y="311364"/>
            <a:ext cx="9310424" cy="955623"/>
          </a:xfrm>
          <a:prstGeom prst="rect">
            <a:avLst/>
          </a:prstGeom>
        </p:spPr>
        <p:txBody>
          <a:bodyPr lIns="112779" tIns="56391" rIns="112779" bIns="56391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5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0" y="-7936"/>
            <a:ext cx="9144000" cy="6367463"/>
          </a:xfrm>
          <a:prstGeom prst="rect">
            <a:avLst/>
          </a:prstGeom>
          <a:solidFill>
            <a:srgbClr val="C6DE89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07" tIns="45705" rIns="91407" bIns="45705" anchor="ctr"/>
          <a:lstStyle/>
          <a:p>
            <a:pPr>
              <a:defRPr/>
            </a:pPr>
            <a:r>
              <a:rPr lang="en-US" dirty="0">
                <a:solidFill>
                  <a:srgbClr val="0C0C0C"/>
                </a:solidFill>
              </a:rPr>
              <a:t> 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6408738"/>
            <a:ext cx="9144000" cy="11112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0" y="1"/>
            <a:ext cx="9144000" cy="6367463"/>
          </a:xfrm>
          <a:prstGeom prst="rect">
            <a:avLst/>
          </a:prstGeom>
          <a:solidFill>
            <a:srgbClr val="F5643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07" tIns="45705" rIns="91407" bIns="45705" anchor="ctr"/>
          <a:lstStyle/>
          <a:p>
            <a:pPr>
              <a:defRPr/>
            </a:pPr>
            <a:r>
              <a:rPr lang="en-US" dirty="0">
                <a:solidFill>
                  <a:srgbClr val="0C0C0C"/>
                </a:solidFill>
              </a:rPr>
              <a:t> 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6408738"/>
            <a:ext cx="9144000" cy="11112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522390" y="9913297"/>
            <a:ext cx="4468602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4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4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1433795" y="110933"/>
            <a:ext cx="2261508" cy="1152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14" y="347864"/>
            <a:ext cx="10852386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1391373"/>
            <a:ext cx="9575634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10446155" y="1391373"/>
            <a:ext cx="2959742" cy="8348211"/>
          </a:xfrm>
          <a:prstGeom prst="rect">
            <a:avLst/>
          </a:prstGeom>
        </p:spPr>
        <p:txBody>
          <a:bodyPr lIns="135229" tIns="67616" rIns="135229" bIns="67616"/>
          <a:lstStyle>
            <a:lvl1pPr marL="0" indent="0">
              <a:defRPr sz="23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2874724" y="9913297"/>
            <a:ext cx="5310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Figura1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2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 r="391"/>
          <a:stretch>
            <a:fillRect/>
          </a:stretch>
        </p:blipFill>
        <p:spPr bwMode="auto">
          <a:xfrm>
            <a:off x="5441955" y="5176853"/>
            <a:ext cx="32385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422052"/>
            <a:ext cx="7543800" cy="774700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4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pic>
        <p:nvPicPr>
          <p:cNvPr id="4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 bwMode="auto">
          <a:xfrm>
            <a:off x="7284720" y="6419088"/>
            <a:ext cx="1859280" cy="43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11"/>
          <p:cNvCxnSpPr/>
          <p:nvPr userDrawn="1"/>
        </p:nvCxnSpPr>
        <p:spPr>
          <a:xfrm>
            <a:off x="-1" y="6408820"/>
            <a:ext cx="1828800" cy="1464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3"/>
          <p:cNvCxnSpPr/>
          <p:nvPr userDrawn="1"/>
        </p:nvCxnSpPr>
        <p:spPr>
          <a:xfrm>
            <a:off x="73151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9"/>
          <p:cNvCxnSpPr/>
          <p:nvPr userDrawn="1"/>
        </p:nvCxnSpPr>
        <p:spPr>
          <a:xfrm>
            <a:off x="18287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20"/>
          <p:cNvCxnSpPr/>
          <p:nvPr userDrawn="1"/>
        </p:nvCxnSpPr>
        <p:spPr>
          <a:xfrm>
            <a:off x="36575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1"/>
          <p:cNvCxnSpPr/>
          <p:nvPr userDrawn="1"/>
        </p:nvCxnSpPr>
        <p:spPr>
          <a:xfrm>
            <a:off x="54863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  <p:transition/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ítulo e 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8900" y="248532"/>
            <a:ext cx="8902700" cy="328458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Tabela 2"/>
          <p:cNvSpPr>
            <a:spLocks noGrp="1"/>
          </p:cNvSpPr>
          <p:nvPr>
            <p:ph type="tbl" idx="1"/>
          </p:nvPr>
        </p:nvSpPr>
        <p:spPr>
          <a:xfrm>
            <a:off x="152400" y="1058883"/>
            <a:ext cx="8826500" cy="5067300"/>
          </a:xfrm>
        </p:spPr>
        <p:txBody>
          <a:bodyPr/>
          <a:lstStyle/>
          <a:p>
            <a:endParaRPr lang="pt-BR"/>
          </a:p>
        </p:txBody>
      </p:sp>
    </p:spTree>
  </p:cSld>
  <p:clrMapOvr>
    <a:masterClrMapping/>
  </p:clrMapOvr>
  <p:transition/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342900" y="914400"/>
            <a:ext cx="845820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/>
          <p:nvPr userDrawn="1"/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52413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8" name="Espaço Reservado para Texto 16"/>
          <p:cNvSpPr>
            <a:spLocks noGrp="1"/>
          </p:cNvSpPr>
          <p:nvPr>
            <p:ph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10" name="Espaço Reservado para Número de Slide 4"/>
          <p:cNvSpPr txBox="1">
            <a:spLocks noGrp="1"/>
          </p:cNvSpPr>
          <p:nvPr userDrawn="1">
            <p:custDataLst>
              <p:tags r:id="rId1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pic>
        <p:nvPicPr>
          <p:cNvPr id="11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ítulo e 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8900" y="248532"/>
            <a:ext cx="8902700" cy="328458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Tabela 2"/>
          <p:cNvSpPr>
            <a:spLocks noGrp="1"/>
          </p:cNvSpPr>
          <p:nvPr>
            <p:ph type="tbl" idx="1"/>
          </p:nvPr>
        </p:nvSpPr>
        <p:spPr>
          <a:xfrm>
            <a:off x="152400" y="1058883"/>
            <a:ext cx="8826500" cy="5067300"/>
          </a:xfrm>
        </p:spPr>
        <p:txBody>
          <a:bodyPr/>
          <a:lstStyle/>
          <a:p>
            <a:endParaRPr lang="pt-BR"/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735106" y="9140536"/>
            <a:ext cx="12119463" cy="743995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39154" tIns="69579" rIns="139154" bIns="69579" anchor="ctr"/>
          <a:lstStyle>
            <a:lvl1pPr marL="521830" indent="-52183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7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522307" y="384082"/>
            <a:ext cx="11490760" cy="1178799"/>
          </a:xfrm>
          <a:prstGeom prst="rect">
            <a:avLst/>
          </a:prstGeom>
        </p:spPr>
        <p:txBody>
          <a:bodyPr lIns="139154" tIns="69579" rIns="139154" bIns="69579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46530" name="think-cell Slide" r:id="rId4" imgW="0" imgH="0" progId="">
              <p:embed/>
            </p:oleObj>
          </a:graphicData>
        </a:graphic>
      </p:graphicFrame>
      <p:pic>
        <p:nvPicPr>
          <p:cNvPr id="13" name="Picture 7" descr="logo"/>
          <p:cNvPicPr>
            <a:picLocks noChangeAspect="1" noChangeArrowheads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Straight Connector 8"/>
          <p:cNvCxnSpPr/>
          <p:nvPr userDrawn="1"/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ço Reservado para Texto 16"/>
          <p:cNvSpPr>
            <a:spLocks noGrp="1"/>
          </p:cNvSpPr>
          <p:nvPr>
            <p:ph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18" name="Espaço Reservado para Número de Slide 4"/>
          <p:cNvSpPr txBox="1">
            <a:spLocks noGrp="1"/>
          </p:cNvSpPr>
          <p:nvPr userDrawn="1">
            <p:custDataLst>
              <p:tags r:id="rId2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pic>
        <p:nvPicPr>
          <p:cNvPr id="19" name="Picture 7" descr="logo"/>
          <p:cNvPicPr>
            <a:picLocks noChangeAspect="1" noChangeArrowheads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568876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J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FETTIG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/ M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TODMAN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VISIT</a:t>
            </a:r>
          </a:p>
        </p:txBody>
      </p:sp>
    </p:spTree>
  </p:cSld>
  <p:clrMapOvr>
    <a:masterClrMapping/>
  </p:clrMapOvr>
  <p:transition/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342900" y="914400"/>
            <a:ext cx="845820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8" name="Espaço Reservado para Número de Slide 4"/>
          <p:cNvSpPr txBox="1">
            <a:spLocks noGrp="1"/>
          </p:cNvSpPr>
          <p:nvPr userDrawn="1">
            <p:custDataLst>
              <p:tags r:id="rId1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3568876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J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FETTIG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/ M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TODMAN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VISIT</a:t>
            </a:r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</p:spTree>
  </p:cSld>
  <p:clrMapOvr>
    <a:masterClrMapping/>
  </p:clrMapOvr>
  <p:transition/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05" indent="-342705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05" indent="-342705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522397" y="9913297"/>
            <a:ext cx="4525194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10449961" y="2087938"/>
            <a:ext cx="2960203" cy="29622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229" tIns="67616" rIns="135229" bIns="67616" anchor="ctr"/>
          <a:lstStyle/>
          <a:p>
            <a:pPr algn="ctr" defTabSz="139162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10621920" y="2268465"/>
            <a:ext cx="2618474" cy="2175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10621920" y="3895297"/>
            <a:ext cx="2618474" cy="4349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10446151" y="2448810"/>
            <a:ext cx="2966705" cy="1224404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600" cap="all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10446151" y="4062798"/>
            <a:ext cx="2966705" cy="811632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200" cap="none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2087056"/>
            <a:ext cx="9575634" cy="2963615"/>
          </a:xfrm>
          <a:prstGeom prst="rect">
            <a:avLst/>
          </a:prstGeom>
        </p:spPr>
        <p:txBody>
          <a:bodyPr lIns="135229" tIns="67616" rIns="135229" bIns="67616" anchor="ctr"/>
          <a:lstStyle>
            <a:lvl1pPr algn="r">
              <a:defRPr sz="41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48578" name="think-cell Slide" r:id="rId5" imgW="0" imgH="0" progId="">
              <p:embed/>
            </p:oleObj>
          </a:graphicData>
        </a:graphic>
      </p:graphicFrame>
      <p:cxnSp>
        <p:nvCxnSpPr>
          <p:cNvPr id="4" name="Straight Connector 8"/>
          <p:cNvCxnSpPr/>
          <p:nvPr>
            <p:custDataLst>
              <p:tags r:id="rId2"/>
            </p:custDataLst>
          </p:nvPr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ítulo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10" name="Retângulo 9"/>
          <p:cNvSpPr/>
          <p:nvPr userDrawn="1"/>
        </p:nvSpPr>
        <p:spPr bwMode="auto">
          <a:xfrm>
            <a:off x="323528" y="980728"/>
            <a:ext cx="6624736" cy="2592288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</p:spPr>
        <p:txBody>
          <a:bodyPr wrap="square" lIns="35981" tIns="35981" rIns="35981" bIns="35981" rtlCol="0" anchor="ctr">
            <a:noAutofit/>
          </a:bodyPr>
          <a:lstStyle/>
          <a:p>
            <a:pPr algn="ctr" defTabSz="913876"/>
            <a:endParaRPr lang="en-US" dirty="0" err="1">
              <a:solidFill>
                <a:srgbClr val="0C0C0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</p:spTree>
  </p:cSld>
  <p:clrMapOvr>
    <a:masterClrMapping/>
  </p:clrMapOvr>
  <p:transition/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423278" y="8036462"/>
            <a:ext cx="3666553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8467108" y="1692637"/>
            <a:ext cx="2398514" cy="2401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597" tIns="54799" rIns="109597" bIns="54799" anchor="ctr"/>
          <a:lstStyle/>
          <a:p>
            <a:pPr algn="ctr" defTabSz="112785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8606446" y="1838979"/>
            <a:ext cx="2121627" cy="1763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8606446" y="3157819"/>
            <a:ext cx="2121627" cy="3526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8464023" y="1985190"/>
            <a:ext cx="2403782" cy="992594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2100" cap="all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8464023" y="3293609"/>
            <a:ext cx="2403782" cy="657970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1800" cap="none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691922"/>
            <a:ext cx="7758687" cy="2402530"/>
          </a:xfrm>
          <a:prstGeom prst="rect">
            <a:avLst/>
          </a:prstGeom>
        </p:spPr>
        <p:txBody>
          <a:bodyPr lIns="109597" tIns="54799" rIns="109597" bIns="54799" anchor="ctr"/>
          <a:lstStyle>
            <a:lvl1pPr algn="r">
              <a:defRPr sz="33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941591" y="7073787"/>
            <a:ext cx="1781250" cy="611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299545" y="6915101"/>
            <a:ext cx="1567852" cy="929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357960" y="7038514"/>
            <a:ext cx="2066955" cy="6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6906310" y="5774343"/>
            <a:ext cx="1839450" cy="992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4853469" y="5786679"/>
            <a:ext cx="1555507" cy="97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257438" y="5864269"/>
            <a:ext cx="2255662" cy="80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423270" y="6943308"/>
            <a:ext cx="1581962" cy="862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4661236" y="7098458"/>
            <a:ext cx="1968193" cy="5501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5"/>
            <a:ext cx="10438960" cy="4511794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745764" y="7257154"/>
            <a:ext cx="950587" cy="516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334873" y="7350589"/>
            <a:ext cx="1181621" cy="3314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3276" y="7248335"/>
            <a:ext cx="1354455" cy="483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544837" y="7311800"/>
            <a:ext cx="1239820" cy="40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213314" y="7190151"/>
            <a:ext cx="1102259" cy="595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980545" y="7197204"/>
            <a:ext cx="934715" cy="585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6066830" y="7331194"/>
            <a:ext cx="1068750" cy="36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922089" y="7237747"/>
            <a:ext cx="940006" cy="55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206161" y="7331212"/>
            <a:ext cx="846534" cy="282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0022620" y="7207783"/>
            <a:ext cx="844770" cy="504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8570" y="7197195"/>
            <a:ext cx="1015841" cy="534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661239" y="7343546"/>
            <a:ext cx="1128713" cy="218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2865872" y="7355883"/>
            <a:ext cx="1366800" cy="213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703651" y="7377036"/>
            <a:ext cx="846534" cy="163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782812" y="7235990"/>
            <a:ext cx="809499" cy="440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7371905" y="7317089"/>
            <a:ext cx="989388" cy="27681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087" y="297657"/>
            <a:ext cx="10156827" cy="483687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899264" y="8110518"/>
            <a:ext cx="3573081" cy="320894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32307" y="8110508"/>
            <a:ext cx="507921" cy="22568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423274" y="8036462"/>
            <a:ext cx="3620699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2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2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9264263" y="89931"/>
            <a:ext cx="1832394" cy="934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10" y="282000"/>
            <a:ext cx="8793179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127949"/>
            <a:ext cx="7758687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8464026" y="1127949"/>
            <a:ext cx="2398140" cy="6767690"/>
          </a:xfrm>
          <a:prstGeom prst="rect">
            <a:avLst/>
          </a:prstGeom>
        </p:spPr>
        <p:txBody>
          <a:bodyPr lIns="109597" tIns="54799" rIns="109597" bIns="54799"/>
          <a:lstStyle>
            <a:lvl1pPr marL="0" indent="0">
              <a:defRPr sz="19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0431790" y="8036462"/>
            <a:ext cx="430321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567193" y="8725792"/>
            <a:ext cx="2198388" cy="754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1477336" y="8530049"/>
            <a:ext cx="1935015" cy="1146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910151" y="8682294"/>
            <a:ext cx="2550999" cy="835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8523645" y="7122865"/>
            <a:ext cx="2270216" cy="1224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990074" y="7138096"/>
            <a:ext cx="1919779" cy="1202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786085" y="7233791"/>
            <a:ext cx="2783898" cy="996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522397" y="8564844"/>
            <a:ext cx="1952429" cy="10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5752811" y="8756240"/>
            <a:ext cx="2429109" cy="6785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7"/>
            <a:ext cx="12883579" cy="5565476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595623" y="7410009"/>
            <a:ext cx="9819833" cy="603139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12779" tIns="56391" rIns="112779" bIns="56391" anchor="ctr"/>
          <a:lstStyle>
            <a:lvl1pPr marL="422919" indent="-422919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2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423201" y="311364"/>
            <a:ext cx="9310424" cy="955623"/>
          </a:xfrm>
          <a:prstGeom prst="rect">
            <a:avLst/>
          </a:prstGeom>
        </p:spPr>
        <p:txBody>
          <a:bodyPr lIns="112779" tIns="56391" rIns="112779" bIns="56391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367554" y="439332"/>
            <a:ext cx="12980303" cy="490970"/>
          </a:xfrm>
          <a:prstGeom prst="rect">
            <a:avLst/>
          </a:prstGeom>
        </p:spPr>
        <p:txBody>
          <a:bodyPr lIns="139163" tIns="69582" rIns="139163" bIns="69582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232140" y="1611189"/>
            <a:ext cx="12883579" cy="7710500"/>
          </a:xfrm>
          <a:prstGeom prst="rect">
            <a:avLst/>
          </a:prstGeom>
        </p:spPr>
        <p:txBody>
          <a:bodyPr lIns="139163" tIns="69582" rIns="139163" bIns="69582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540" y="367172"/>
            <a:ext cx="12535376" cy="596647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514946" y="10004656"/>
            <a:ext cx="4409833" cy="395835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2998777" y="10004642"/>
            <a:ext cx="626868" cy="278391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522397" y="9913297"/>
            <a:ext cx="4525194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10449961" y="2087938"/>
            <a:ext cx="2960203" cy="29622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229" tIns="67616" rIns="135229" bIns="67616" anchor="ctr"/>
          <a:lstStyle/>
          <a:p>
            <a:pPr algn="ctr" defTabSz="139162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10621920" y="2268465"/>
            <a:ext cx="2618474" cy="2175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10621920" y="3895297"/>
            <a:ext cx="2618474" cy="4349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10446151" y="2448810"/>
            <a:ext cx="2966705" cy="1224404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600" cap="all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10446151" y="4062798"/>
            <a:ext cx="2966705" cy="811632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200" cap="none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2087056"/>
            <a:ext cx="9575634" cy="2963615"/>
          </a:xfrm>
          <a:prstGeom prst="rect">
            <a:avLst/>
          </a:prstGeom>
        </p:spPr>
        <p:txBody>
          <a:bodyPr lIns="135229" tIns="67616" rIns="135229" bIns="67616" anchor="ctr"/>
          <a:lstStyle>
            <a:lvl1pPr algn="r">
              <a:defRPr sz="41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567193" y="8725792"/>
            <a:ext cx="2198388" cy="754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1477336" y="8530049"/>
            <a:ext cx="1935015" cy="1146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910151" y="8682294"/>
            <a:ext cx="2550999" cy="835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8523645" y="7122865"/>
            <a:ext cx="2270216" cy="1224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990074" y="7138096"/>
            <a:ext cx="1919779" cy="1202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786085" y="7233791"/>
            <a:ext cx="2783898" cy="996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522397" y="8564844"/>
            <a:ext cx="1952429" cy="10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5752811" y="8756240"/>
            <a:ext cx="2429109" cy="6785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7"/>
            <a:ext cx="12883579" cy="5565476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0793862" y="8951970"/>
            <a:ext cx="1173198" cy="637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052566" y="9067255"/>
            <a:ext cx="1458336" cy="40888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2395" y="8941107"/>
            <a:ext cx="1671644" cy="595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609151" y="9019393"/>
            <a:ext cx="1530164" cy="502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965814" y="8869335"/>
            <a:ext cx="1360389" cy="735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444358" y="8878034"/>
            <a:ext cx="1153609" cy="722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7487579" y="9043329"/>
            <a:ext cx="1319033" cy="454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2245674" y="8928060"/>
            <a:ext cx="1160139" cy="68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659532" y="9043334"/>
            <a:ext cx="1044777" cy="3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2369734" y="8891094"/>
            <a:ext cx="1042600" cy="622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8929" y="8878036"/>
            <a:ext cx="1253733" cy="659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752810" y="9058545"/>
            <a:ext cx="1393038" cy="269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537009" y="9073771"/>
            <a:ext cx="1686880" cy="2631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102617" y="9099865"/>
            <a:ext cx="1044777" cy="202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10839589" y="8925890"/>
            <a:ext cx="999069" cy="543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098281" y="9025929"/>
            <a:ext cx="1221085" cy="341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522390" y="9913297"/>
            <a:ext cx="4468602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4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4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1433795" y="110933"/>
            <a:ext cx="2261508" cy="1152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14" y="347864"/>
            <a:ext cx="10852386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1391373"/>
            <a:ext cx="9575634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10446155" y="1391373"/>
            <a:ext cx="2959742" cy="8348211"/>
          </a:xfrm>
          <a:prstGeom prst="rect">
            <a:avLst/>
          </a:prstGeom>
        </p:spPr>
        <p:txBody>
          <a:bodyPr lIns="135229" tIns="67616" rIns="135229" bIns="67616"/>
          <a:lstStyle>
            <a:lvl1pPr marL="0" indent="0">
              <a:defRPr sz="23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2874724" y="9913297"/>
            <a:ext cx="5310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0793862" y="8951970"/>
            <a:ext cx="1173198" cy="637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052566" y="9067255"/>
            <a:ext cx="1458336" cy="40888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2395" y="8941107"/>
            <a:ext cx="1671644" cy="595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609151" y="9019393"/>
            <a:ext cx="1530164" cy="502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965814" y="8869335"/>
            <a:ext cx="1360389" cy="735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444358" y="8878034"/>
            <a:ext cx="1153609" cy="722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7487579" y="9043329"/>
            <a:ext cx="1319033" cy="454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2245674" y="8928060"/>
            <a:ext cx="1160139" cy="68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735106" y="9140536"/>
            <a:ext cx="12119463" cy="743995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39154" tIns="69579" rIns="139154" bIns="69579" anchor="ctr"/>
          <a:lstStyle>
            <a:lvl1pPr marL="521830" indent="-52183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7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522307" y="384082"/>
            <a:ext cx="11490760" cy="1178799"/>
          </a:xfrm>
          <a:prstGeom prst="rect">
            <a:avLst/>
          </a:prstGeom>
        </p:spPr>
        <p:txBody>
          <a:bodyPr lIns="139154" tIns="69579" rIns="139154" bIns="69579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522397" y="9913297"/>
            <a:ext cx="4525194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10449961" y="2087938"/>
            <a:ext cx="2960203" cy="29622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229" tIns="67616" rIns="135229" bIns="67616" anchor="ctr"/>
          <a:lstStyle/>
          <a:p>
            <a:pPr algn="ctr" defTabSz="139162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10621920" y="2268465"/>
            <a:ext cx="2618474" cy="2175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10621920" y="3895297"/>
            <a:ext cx="2618474" cy="4349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10446151" y="2448810"/>
            <a:ext cx="2966705" cy="1224404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600" cap="all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10446151" y="4062798"/>
            <a:ext cx="2966705" cy="811632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200" cap="none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2087056"/>
            <a:ext cx="9575634" cy="2963615"/>
          </a:xfrm>
          <a:prstGeom prst="rect">
            <a:avLst/>
          </a:prstGeom>
        </p:spPr>
        <p:txBody>
          <a:bodyPr lIns="135229" tIns="67616" rIns="135229" bIns="67616" anchor="ctr"/>
          <a:lstStyle>
            <a:lvl1pPr algn="r">
              <a:defRPr sz="41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567193" y="8725792"/>
            <a:ext cx="2198388" cy="754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1477336" y="8530049"/>
            <a:ext cx="1935015" cy="1146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910151" y="8682294"/>
            <a:ext cx="2550999" cy="835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8523645" y="7122865"/>
            <a:ext cx="2270216" cy="1224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990074" y="7138096"/>
            <a:ext cx="1919779" cy="1202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786085" y="7233791"/>
            <a:ext cx="2783898" cy="996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522397" y="8564844"/>
            <a:ext cx="1952429" cy="10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5752811" y="8756240"/>
            <a:ext cx="2429109" cy="6785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7"/>
            <a:ext cx="12883579" cy="5565476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0793862" y="8951970"/>
            <a:ext cx="1173198" cy="637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052566" y="9067255"/>
            <a:ext cx="1458336" cy="40888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2395" y="8941107"/>
            <a:ext cx="1671644" cy="595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609151" y="9019393"/>
            <a:ext cx="1530164" cy="502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965814" y="8869335"/>
            <a:ext cx="1360389" cy="735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444358" y="8878034"/>
            <a:ext cx="1153609" cy="722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7487579" y="9043329"/>
            <a:ext cx="1319033" cy="454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2245674" y="8928060"/>
            <a:ext cx="1160139" cy="68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659532" y="9043334"/>
            <a:ext cx="1044777" cy="3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2369734" y="8891094"/>
            <a:ext cx="1042600" cy="622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8929" y="8878036"/>
            <a:ext cx="1253733" cy="659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752810" y="9058545"/>
            <a:ext cx="1393038" cy="269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537009" y="9073771"/>
            <a:ext cx="1686880" cy="2631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102617" y="9099865"/>
            <a:ext cx="1044777" cy="202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10839589" y="8925890"/>
            <a:ext cx="999069" cy="543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098281" y="9025929"/>
            <a:ext cx="1221085" cy="341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540" y="367172"/>
            <a:ext cx="12535376" cy="596647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514946" y="10004656"/>
            <a:ext cx="4409833" cy="395835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2998777" y="10004642"/>
            <a:ext cx="626868" cy="278391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522390" y="9913297"/>
            <a:ext cx="4468602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4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4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1433795" y="110933"/>
            <a:ext cx="2261508" cy="1152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14" y="347864"/>
            <a:ext cx="10852386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1391373"/>
            <a:ext cx="9575634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10446155" y="1391373"/>
            <a:ext cx="2959742" cy="8348211"/>
          </a:xfrm>
          <a:prstGeom prst="rect">
            <a:avLst/>
          </a:prstGeom>
        </p:spPr>
        <p:txBody>
          <a:bodyPr lIns="135229" tIns="67616" rIns="135229" bIns="67616"/>
          <a:lstStyle>
            <a:lvl1pPr marL="0" indent="0">
              <a:defRPr sz="23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2874724" y="9913297"/>
            <a:ext cx="5310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367554" y="439336"/>
            <a:ext cx="12980303" cy="490970"/>
          </a:xfrm>
          <a:prstGeom prst="rect">
            <a:avLst/>
          </a:prstGeom>
        </p:spPr>
        <p:txBody>
          <a:bodyPr lIns="139148" tIns="69576" rIns="139148" bIns="69576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232140" y="1611189"/>
            <a:ext cx="12883579" cy="7710500"/>
          </a:xfrm>
          <a:prstGeom prst="rect">
            <a:avLst/>
          </a:prstGeom>
        </p:spPr>
        <p:txBody>
          <a:bodyPr lIns="139148" tIns="69576" rIns="139148" bIns="69576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659532" y="9043334"/>
            <a:ext cx="1044777" cy="3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2369734" y="8891094"/>
            <a:ext cx="1042600" cy="622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8929" y="8878036"/>
            <a:ext cx="1253733" cy="659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752810" y="9058545"/>
            <a:ext cx="1393038" cy="269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537009" y="9073771"/>
            <a:ext cx="1686880" cy="2631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102617" y="9099865"/>
            <a:ext cx="1044777" cy="202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10839589" y="8925890"/>
            <a:ext cx="999069" cy="543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098281" y="9025929"/>
            <a:ext cx="1221085" cy="341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735106" y="9140536"/>
            <a:ext cx="12119463" cy="743995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39154" tIns="69579" rIns="139154" bIns="69579" anchor="ctr"/>
          <a:lstStyle>
            <a:lvl1pPr marL="521830" indent="-52183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7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522307" y="384082"/>
            <a:ext cx="11490760" cy="1178799"/>
          </a:xfrm>
          <a:prstGeom prst="rect">
            <a:avLst/>
          </a:prstGeom>
        </p:spPr>
        <p:txBody>
          <a:bodyPr lIns="139154" tIns="69579" rIns="139154" bIns="69579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423278" y="8036462"/>
            <a:ext cx="3666553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8467108" y="1692637"/>
            <a:ext cx="2398514" cy="2401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597" tIns="54799" rIns="109597" bIns="54799" anchor="ctr"/>
          <a:lstStyle/>
          <a:p>
            <a:pPr algn="ctr" defTabSz="112785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8606446" y="1838979"/>
            <a:ext cx="2121627" cy="1763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8606446" y="3157819"/>
            <a:ext cx="2121627" cy="3526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8464023" y="1985190"/>
            <a:ext cx="2403782" cy="992594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2100" cap="all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8464023" y="3293609"/>
            <a:ext cx="2403782" cy="657970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1800" cap="none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691922"/>
            <a:ext cx="7758687" cy="2402530"/>
          </a:xfrm>
          <a:prstGeom prst="rect">
            <a:avLst/>
          </a:prstGeom>
        </p:spPr>
        <p:txBody>
          <a:bodyPr lIns="109597" tIns="54799" rIns="109597" bIns="54799" anchor="ctr"/>
          <a:lstStyle>
            <a:lvl1pPr algn="r">
              <a:defRPr sz="33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941591" y="7073787"/>
            <a:ext cx="1781250" cy="611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299545" y="6915101"/>
            <a:ext cx="1567852" cy="929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357960" y="7038514"/>
            <a:ext cx="2066955" cy="6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6906310" y="5774343"/>
            <a:ext cx="1839450" cy="992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4853469" y="5786679"/>
            <a:ext cx="1555507" cy="97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257438" y="5864269"/>
            <a:ext cx="2255662" cy="80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423270" y="6943308"/>
            <a:ext cx="1581962" cy="862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4661236" y="7098458"/>
            <a:ext cx="1968193" cy="5501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5"/>
            <a:ext cx="10438960" cy="4511794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745764" y="7257154"/>
            <a:ext cx="950587" cy="516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334873" y="7350589"/>
            <a:ext cx="1181621" cy="3314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3276" y="7248335"/>
            <a:ext cx="1354455" cy="483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544837" y="7311800"/>
            <a:ext cx="1239820" cy="40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213314" y="7190151"/>
            <a:ext cx="1102259" cy="595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980545" y="7197204"/>
            <a:ext cx="934715" cy="585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6066830" y="7331194"/>
            <a:ext cx="1068750" cy="36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922089" y="7237747"/>
            <a:ext cx="940006" cy="55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206161" y="7331212"/>
            <a:ext cx="846534" cy="282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0022620" y="7207783"/>
            <a:ext cx="844770" cy="504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8570" y="7197195"/>
            <a:ext cx="1015841" cy="534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661239" y="7343546"/>
            <a:ext cx="1128713" cy="218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2865872" y="7355883"/>
            <a:ext cx="1366800" cy="213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703651" y="7377036"/>
            <a:ext cx="846534" cy="163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782812" y="7235990"/>
            <a:ext cx="809499" cy="440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7371905" y="7317089"/>
            <a:ext cx="989388" cy="27681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087" y="297657"/>
            <a:ext cx="10156827" cy="483687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899264" y="8110518"/>
            <a:ext cx="3573081" cy="320894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32307" y="8110508"/>
            <a:ext cx="507921" cy="22568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423274" y="8036462"/>
            <a:ext cx="3620699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2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2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9264263" y="89931"/>
            <a:ext cx="1832394" cy="934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10" y="282000"/>
            <a:ext cx="8793179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127949"/>
            <a:ext cx="7758687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8464026" y="1127949"/>
            <a:ext cx="2398140" cy="6767690"/>
          </a:xfrm>
          <a:prstGeom prst="rect">
            <a:avLst/>
          </a:prstGeom>
        </p:spPr>
        <p:txBody>
          <a:bodyPr lIns="109597" tIns="54799" rIns="109597" bIns="54799"/>
          <a:lstStyle>
            <a:lvl1pPr marL="0" indent="0">
              <a:defRPr sz="19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0431790" y="8036462"/>
            <a:ext cx="430321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297817" y="356162"/>
            <a:ext cx="10517331" cy="398017"/>
          </a:xfrm>
          <a:prstGeom prst="rect">
            <a:avLst/>
          </a:prstGeom>
        </p:spPr>
        <p:txBody>
          <a:bodyPr lIns="112772" tIns="56388" rIns="112772" bIns="56388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188090" y="1306154"/>
            <a:ext cx="10438960" cy="6250713"/>
          </a:xfrm>
          <a:prstGeom prst="rect">
            <a:avLst/>
          </a:prstGeom>
        </p:spPr>
        <p:txBody>
          <a:bodyPr lIns="112772" tIns="56388" rIns="112772" bIns="56388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540" y="367172"/>
            <a:ext cx="12535376" cy="596647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514946" y="10004656"/>
            <a:ext cx="4409833" cy="395835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2998777" y="10004642"/>
            <a:ext cx="626868" cy="278391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595623" y="7410009"/>
            <a:ext cx="9819833" cy="603139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12779" tIns="56391" rIns="112779" bIns="56391" anchor="ctr"/>
          <a:lstStyle>
            <a:lvl1pPr marL="422919" indent="-422919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2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423201" y="311364"/>
            <a:ext cx="9310424" cy="955623"/>
          </a:xfrm>
          <a:prstGeom prst="rect">
            <a:avLst/>
          </a:prstGeom>
        </p:spPr>
        <p:txBody>
          <a:bodyPr lIns="112779" tIns="56391" rIns="112779" bIns="56391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5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0" y="-7936"/>
            <a:ext cx="9144000" cy="6367463"/>
          </a:xfrm>
          <a:prstGeom prst="rect">
            <a:avLst/>
          </a:prstGeom>
          <a:solidFill>
            <a:srgbClr val="C6DE89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07" tIns="45705" rIns="91407" bIns="45705" anchor="ctr"/>
          <a:lstStyle/>
          <a:p>
            <a:pPr>
              <a:defRPr/>
            </a:pPr>
            <a:r>
              <a:rPr lang="en-US" dirty="0">
                <a:solidFill>
                  <a:srgbClr val="0C0C0C"/>
                </a:solidFill>
              </a:rPr>
              <a:t> 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6408738"/>
            <a:ext cx="9144000" cy="11112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0" y="1"/>
            <a:ext cx="9144000" cy="6367463"/>
          </a:xfrm>
          <a:prstGeom prst="rect">
            <a:avLst/>
          </a:prstGeom>
          <a:solidFill>
            <a:srgbClr val="F5643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07" tIns="45705" rIns="91407" bIns="45705" anchor="ctr"/>
          <a:lstStyle/>
          <a:p>
            <a:pPr>
              <a:defRPr/>
            </a:pPr>
            <a:r>
              <a:rPr lang="en-US" dirty="0">
                <a:solidFill>
                  <a:srgbClr val="0C0C0C"/>
                </a:solidFill>
              </a:rPr>
              <a:t> 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6408738"/>
            <a:ext cx="9144000" cy="11112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3"/>
          <p:cNvCxnSpPr/>
          <p:nvPr userDrawn="1"/>
        </p:nvCxnSpPr>
        <p:spPr>
          <a:xfrm>
            <a:off x="73152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11"/>
          <p:cNvCxnSpPr/>
          <p:nvPr userDrawn="1"/>
        </p:nvCxnSpPr>
        <p:spPr>
          <a:xfrm>
            <a:off x="0" y="6408738"/>
            <a:ext cx="1828800" cy="1587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9"/>
          <p:cNvCxnSpPr/>
          <p:nvPr userDrawn="1"/>
        </p:nvCxnSpPr>
        <p:spPr>
          <a:xfrm>
            <a:off x="18288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0"/>
          <p:cNvCxnSpPr/>
          <p:nvPr userDrawn="1"/>
        </p:nvCxnSpPr>
        <p:spPr>
          <a:xfrm>
            <a:off x="36576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21"/>
          <p:cNvCxnSpPr/>
          <p:nvPr userDrawn="1"/>
        </p:nvCxnSpPr>
        <p:spPr>
          <a:xfrm>
            <a:off x="54864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3"/>
          <p:cNvSpPr txBox="1">
            <a:spLocks/>
          </p:cNvSpPr>
          <p:nvPr userDrawn="1"/>
        </p:nvSpPr>
        <p:spPr>
          <a:xfrm>
            <a:off x="490538" y="6484938"/>
            <a:ext cx="519112" cy="304800"/>
          </a:xfrm>
          <a:prstGeom prst="rect">
            <a:avLst/>
          </a:prstGeom>
        </p:spPr>
        <p:txBody>
          <a:bodyPr anchor="ctr"/>
          <a:lstStyle/>
          <a:p>
            <a:pPr>
              <a:defRPr/>
            </a:pPr>
            <a:fld id="{9E594AB5-DE47-4585-9390-0E5F65008D80}" type="slidenum">
              <a:rPr lang="pt-BR" sz="1300">
                <a:solidFill>
                  <a:srgbClr val="666666"/>
                </a:solidFill>
                <a:latin typeface="Tahoma"/>
                <a:cs typeface="Tahoma"/>
              </a:rPr>
              <a:pPr>
                <a:defRPr/>
              </a:pPr>
              <a:t>‹nº›</a:t>
            </a:fld>
            <a:endParaRPr lang="pt-BR" sz="1300" dirty="0">
              <a:solidFill>
                <a:srgbClr val="666666"/>
              </a:solidFill>
              <a:latin typeface="Tahoma"/>
              <a:cs typeface="Tahoma"/>
            </a:endParaRPr>
          </a:p>
        </p:txBody>
      </p:sp>
    </p:spTree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3"/>
          <p:cNvCxnSpPr/>
          <p:nvPr userDrawn="1"/>
        </p:nvCxnSpPr>
        <p:spPr>
          <a:xfrm>
            <a:off x="73152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11"/>
          <p:cNvCxnSpPr/>
          <p:nvPr userDrawn="1"/>
        </p:nvCxnSpPr>
        <p:spPr>
          <a:xfrm>
            <a:off x="0" y="6408738"/>
            <a:ext cx="1828800" cy="1587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9"/>
          <p:cNvCxnSpPr/>
          <p:nvPr userDrawn="1"/>
        </p:nvCxnSpPr>
        <p:spPr>
          <a:xfrm>
            <a:off x="18288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0"/>
          <p:cNvCxnSpPr/>
          <p:nvPr userDrawn="1"/>
        </p:nvCxnSpPr>
        <p:spPr>
          <a:xfrm>
            <a:off x="36576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21"/>
          <p:cNvCxnSpPr/>
          <p:nvPr userDrawn="1"/>
        </p:nvCxnSpPr>
        <p:spPr>
          <a:xfrm>
            <a:off x="54864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3"/>
          <p:cNvSpPr txBox="1">
            <a:spLocks/>
          </p:cNvSpPr>
          <p:nvPr userDrawn="1"/>
        </p:nvSpPr>
        <p:spPr>
          <a:xfrm>
            <a:off x="490538" y="6484938"/>
            <a:ext cx="519112" cy="304800"/>
          </a:xfrm>
          <a:prstGeom prst="rect">
            <a:avLst/>
          </a:prstGeom>
        </p:spPr>
        <p:txBody>
          <a:bodyPr anchor="ctr"/>
          <a:lstStyle/>
          <a:p>
            <a:pPr>
              <a:defRPr/>
            </a:pPr>
            <a:fld id="{9E594AB5-DE47-4585-9390-0E5F65008D80}" type="slidenum">
              <a:rPr lang="pt-BR" sz="1300">
                <a:solidFill>
                  <a:srgbClr val="666666"/>
                </a:solidFill>
                <a:latin typeface="Tahoma"/>
                <a:cs typeface="Tahoma"/>
              </a:rPr>
              <a:pPr>
                <a:defRPr/>
              </a:pPr>
              <a:t>‹nº›</a:t>
            </a:fld>
            <a:endParaRPr lang="pt-BR" sz="1300" dirty="0">
              <a:solidFill>
                <a:srgbClr val="666666"/>
              </a:solidFill>
              <a:latin typeface="Tahoma"/>
              <a:cs typeface="Tahoma"/>
            </a:endParaRPr>
          </a:p>
        </p:txBody>
      </p:sp>
    </p:spTree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3"/>
          <p:cNvCxnSpPr/>
          <p:nvPr userDrawn="1"/>
        </p:nvCxnSpPr>
        <p:spPr>
          <a:xfrm>
            <a:off x="73152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11"/>
          <p:cNvCxnSpPr/>
          <p:nvPr userDrawn="1"/>
        </p:nvCxnSpPr>
        <p:spPr>
          <a:xfrm>
            <a:off x="0" y="6408738"/>
            <a:ext cx="1828800" cy="1587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9"/>
          <p:cNvCxnSpPr/>
          <p:nvPr userDrawn="1"/>
        </p:nvCxnSpPr>
        <p:spPr>
          <a:xfrm>
            <a:off x="18288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0"/>
          <p:cNvCxnSpPr/>
          <p:nvPr userDrawn="1"/>
        </p:nvCxnSpPr>
        <p:spPr>
          <a:xfrm>
            <a:off x="36576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21"/>
          <p:cNvCxnSpPr/>
          <p:nvPr userDrawn="1"/>
        </p:nvCxnSpPr>
        <p:spPr>
          <a:xfrm>
            <a:off x="54864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3"/>
          <p:cNvSpPr txBox="1">
            <a:spLocks/>
          </p:cNvSpPr>
          <p:nvPr userDrawn="1"/>
        </p:nvSpPr>
        <p:spPr>
          <a:xfrm>
            <a:off x="490538" y="6484938"/>
            <a:ext cx="519112" cy="304800"/>
          </a:xfrm>
          <a:prstGeom prst="rect">
            <a:avLst/>
          </a:prstGeom>
        </p:spPr>
        <p:txBody>
          <a:bodyPr anchor="ctr"/>
          <a:lstStyle/>
          <a:p>
            <a:pPr>
              <a:defRPr/>
            </a:pPr>
            <a:fld id="{9E594AB5-DE47-4585-9390-0E5F65008D80}" type="slidenum">
              <a:rPr lang="pt-BR" sz="1300">
                <a:solidFill>
                  <a:srgbClr val="666666"/>
                </a:solidFill>
                <a:latin typeface="Tahoma"/>
                <a:cs typeface="Tahoma"/>
              </a:rPr>
              <a:pPr>
                <a:defRPr/>
              </a:pPr>
              <a:t>‹nº›</a:t>
            </a:fld>
            <a:endParaRPr lang="pt-BR" sz="1300" dirty="0">
              <a:solidFill>
                <a:srgbClr val="666666"/>
              </a:solidFill>
              <a:latin typeface="Tahoma"/>
              <a:cs typeface="Tahoma"/>
            </a:endParaRPr>
          </a:p>
        </p:txBody>
      </p:sp>
    </p:spTree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3"/>
          <p:cNvCxnSpPr/>
          <p:nvPr userDrawn="1"/>
        </p:nvCxnSpPr>
        <p:spPr>
          <a:xfrm>
            <a:off x="73152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11"/>
          <p:cNvCxnSpPr/>
          <p:nvPr userDrawn="1"/>
        </p:nvCxnSpPr>
        <p:spPr>
          <a:xfrm>
            <a:off x="0" y="6408738"/>
            <a:ext cx="1828800" cy="1587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9"/>
          <p:cNvCxnSpPr/>
          <p:nvPr userDrawn="1"/>
        </p:nvCxnSpPr>
        <p:spPr>
          <a:xfrm>
            <a:off x="18288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0"/>
          <p:cNvCxnSpPr/>
          <p:nvPr userDrawn="1"/>
        </p:nvCxnSpPr>
        <p:spPr>
          <a:xfrm>
            <a:off x="36576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21"/>
          <p:cNvCxnSpPr/>
          <p:nvPr userDrawn="1"/>
        </p:nvCxnSpPr>
        <p:spPr>
          <a:xfrm>
            <a:off x="54864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3"/>
          <p:cNvSpPr txBox="1">
            <a:spLocks/>
          </p:cNvSpPr>
          <p:nvPr userDrawn="1"/>
        </p:nvSpPr>
        <p:spPr>
          <a:xfrm>
            <a:off x="490538" y="6484938"/>
            <a:ext cx="519112" cy="304800"/>
          </a:xfrm>
          <a:prstGeom prst="rect">
            <a:avLst/>
          </a:prstGeom>
        </p:spPr>
        <p:txBody>
          <a:bodyPr anchor="ctr"/>
          <a:lstStyle/>
          <a:p>
            <a:pPr>
              <a:defRPr/>
            </a:pPr>
            <a:fld id="{9E594AB5-DE47-4585-9390-0E5F65008D80}" type="slidenum">
              <a:rPr lang="pt-BR" sz="1300">
                <a:solidFill>
                  <a:srgbClr val="666666"/>
                </a:solidFill>
                <a:latin typeface="Tahoma"/>
                <a:cs typeface="Tahoma"/>
              </a:rPr>
              <a:pPr>
                <a:defRPr/>
              </a:pPr>
              <a:t>‹nº›</a:t>
            </a:fld>
            <a:endParaRPr lang="pt-BR" sz="1300" dirty="0">
              <a:solidFill>
                <a:srgbClr val="666666"/>
              </a:solidFill>
              <a:latin typeface="Tahoma"/>
              <a:cs typeface="Tahoma"/>
            </a:endParaRPr>
          </a:p>
        </p:txBody>
      </p:sp>
    </p:spTree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3"/>
          <p:cNvCxnSpPr/>
          <p:nvPr userDrawn="1"/>
        </p:nvCxnSpPr>
        <p:spPr>
          <a:xfrm>
            <a:off x="73152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11"/>
          <p:cNvCxnSpPr/>
          <p:nvPr userDrawn="1"/>
        </p:nvCxnSpPr>
        <p:spPr>
          <a:xfrm>
            <a:off x="0" y="6408738"/>
            <a:ext cx="1828800" cy="1587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9"/>
          <p:cNvCxnSpPr/>
          <p:nvPr userDrawn="1"/>
        </p:nvCxnSpPr>
        <p:spPr>
          <a:xfrm>
            <a:off x="18288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0"/>
          <p:cNvCxnSpPr/>
          <p:nvPr userDrawn="1"/>
        </p:nvCxnSpPr>
        <p:spPr>
          <a:xfrm>
            <a:off x="36576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21"/>
          <p:cNvCxnSpPr/>
          <p:nvPr userDrawn="1"/>
        </p:nvCxnSpPr>
        <p:spPr>
          <a:xfrm>
            <a:off x="54864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3"/>
          <p:cNvSpPr txBox="1">
            <a:spLocks/>
          </p:cNvSpPr>
          <p:nvPr userDrawn="1"/>
        </p:nvSpPr>
        <p:spPr>
          <a:xfrm>
            <a:off x="490538" y="6484938"/>
            <a:ext cx="519112" cy="304800"/>
          </a:xfrm>
          <a:prstGeom prst="rect">
            <a:avLst/>
          </a:prstGeom>
        </p:spPr>
        <p:txBody>
          <a:bodyPr anchor="ctr"/>
          <a:lstStyle/>
          <a:p>
            <a:pPr>
              <a:defRPr/>
            </a:pPr>
            <a:fld id="{9E594AB5-DE47-4585-9390-0E5F65008D80}" type="slidenum">
              <a:rPr lang="pt-BR" sz="1300">
                <a:solidFill>
                  <a:srgbClr val="666666"/>
                </a:solidFill>
                <a:latin typeface="Tahoma"/>
                <a:cs typeface="Tahoma"/>
              </a:rPr>
              <a:pPr>
                <a:defRPr/>
              </a:pPr>
              <a:t>‹nº›</a:t>
            </a:fld>
            <a:endParaRPr lang="pt-BR" sz="1300" dirty="0">
              <a:solidFill>
                <a:srgbClr val="666666"/>
              </a:solidFill>
              <a:latin typeface="Tahoma"/>
              <a:cs typeface="Tahoma"/>
            </a:endParaRPr>
          </a:p>
        </p:txBody>
      </p:sp>
    </p:spTree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3"/>
          <p:cNvCxnSpPr/>
          <p:nvPr userDrawn="1"/>
        </p:nvCxnSpPr>
        <p:spPr>
          <a:xfrm>
            <a:off x="73152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11"/>
          <p:cNvCxnSpPr/>
          <p:nvPr userDrawn="1"/>
        </p:nvCxnSpPr>
        <p:spPr>
          <a:xfrm>
            <a:off x="0" y="6408738"/>
            <a:ext cx="1828800" cy="1587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9"/>
          <p:cNvCxnSpPr/>
          <p:nvPr userDrawn="1"/>
        </p:nvCxnSpPr>
        <p:spPr>
          <a:xfrm>
            <a:off x="18288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0"/>
          <p:cNvCxnSpPr/>
          <p:nvPr userDrawn="1"/>
        </p:nvCxnSpPr>
        <p:spPr>
          <a:xfrm>
            <a:off x="36576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21"/>
          <p:cNvCxnSpPr/>
          <p:nvPr userDrawn="1"/>
        </p:nvCxnSpPr>
        <p:spPr>
          <a:xfrm>
            <a:off x="54864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3"/>
          <p:cNvSpPr txBox="1">
            <a:spLocks/>
          </p:cNvSpPr>
          <p:nvPr userDrawn="1"/>
        </p:nvSpPr>
        <p:spPr>
          <a:xfrm>
            <a:off x="490538" y="6484938"/>
            <a:ext cx="519112" cy="304800"/>
          </a:xfrm>
          <a:prstGeom prst="rect">
            <a:avLst/>
          </a:prstGeom>
        </p:spPr>
        <p:txBody>
          <a:bodyPr anchor="ctr"/>
          <a:lstStyle/>
          <a:p>
            <a:pPr>
              <a:defRPr/>
            </a:pPr>
            <a:fld id="{9E594AB5-DE47-4585-9390-0E5F65008D80}" type="slidenum">
              <a:rPr lang="pt-BR" sz="1300">
                <a:solidFill>
                  <a:srgbClr val="666666"/>
                </a:solidFill>
                <a:latin typeface="Tahoma"/>
                <a:cs typeface="Tahoma"/>
              </a:rPr>
              <a:pPr>
                <a:defRPr/>
              </a:pPr>
              <a:t>‹nº›</a:t>
            </a:fld>
            <a:endParaRPr lang="pt-BR" sz="1300" dirty="0">
              <a:solidFill>
                <a:srgbClr val="666666"/>
              </a:solidFill>
              <a:latin typeface="Tahoma"/>
              <a:cs typeface="Tahoma"/>
            </a:endParaRP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3"/>
          <p:cNvCxnSpPr/>
          <p:nvPr userDrawn="1"/>
        </p:nvCxnSpPr>
        <p:spPr>
          <a:xfrm>
            <a:off x="73152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11"/>
          <p:cNvCxnSpPr/>
          <p:nvPr userDrawn="1"/>
        </p:nvCxnSpPr>
        <p:spPr>
          <a:xfrm>
            <a:off x="0" y="6408738"/>
            <a:ext cx="1828800" cy="1587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9"/>
          <p:cNvCxnSpPr/>
          <p:nvPr userDrawn="1"/>
        </p:nvCxnSpPr>
        <p:spPr>
          <a:xfrm>
            <a:off x="18288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0"/>
          <p:cNvCxnSpPr/>
          <p:nvPr userDrawn="1"/>
        </p:nvCxnSpPr>
        <p:spPr>
          <a:xfrm>
            <a:off x="36576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21"/>
          <p:cNvCxnSpPr/>
          <p:nvPr userDrawn="1"/>
        </p:nvCxnSpPr>
        <p:spPr>
          <a:xfrm>
            <a:off x="54864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3"/>
          <p:cNvSpPr txBox="1">
            <a:spLocks/>
          </p:cNvSpPr>
          <p:nvPr userDrawn="1"/>
        </p:nvSpPr>
        <p:spPr>
          <a:xfrm>
            <a:off x="490538" y="6484938"/>
            <a:ext cx="519112" cy="304800"/>
          </a:xfrm>
          <a:prstGeom prst="rect">
            <a:avLst/>
          </a:prstGeom>
        </p:spPr>
        <p:txBody>
          <a:bodyPr anchor="ctr"/>
          <a:lstStyle/>
          <a:p>
            <a:pPr>
              <a:defRPr/>
            </a:pPr>
            <a:fld id="{9E594AB5-DE47-4585-9390-0E5F65008D80}" type="slidenum">
              <a:rPr lang="pt-BR" sz="1300">
                <a:solidFill>
                  <a:srgbClr val="666666"/>
                </a:solidFill>
                <a:latin typeface="Tahoma"/>
                <a:cs typeface="Tahoma"/>
              </a:rPr>
              <a:pPr>
                <a:defRPr/>
              </a:pPr>
              <a:t>‹nº›</a:t>
            </a:fld>
            <a:endParaRPr lang="pt-BR" sz="1300" dirty="0">
              <a:solidFill>
                <a:srgbClr val="666666"/>
              </a:solidFill>
              <a:latin typeface="Tahoma"/>
              <a:cs typeface="Tahoma"/>
            </a:endParaRPr>
          </a:p>
        </p:txBody>
      </p:sp>
    </p:spTree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3"/>
          <p:cNvCxnSpPr/>
          <p:nvPr userDrawn="1"/>
        </p:nvCxnSpPr>
        <p:spPr>
          <a:xfrm>
            <a:off x="73152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11"/>
          <p:cNvCxnSpPr/>
          <p:nvPr userDrawn="1"/>
        </p:nvCxnSpPr>
        <p:spPr>
          <a:xfrm>
            <a:off x="0" y="6408738"/>
            <a:ext cx="1828800" cy="1587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9"/>
          <p:cNvCxnSpPr/>
          <p:nvPr userDrawn="1"/>
        </p:nvCxnSpPr>
        <p:spPr>
          <a:xfrm>
            <a:off x="18288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0"/>
          <p:cNvCxnSpPr/>
          <p:nvPr userDrawn="1"/>
        </p:nvCxnSpPr>
        <p:spPr>
          <a:xfrm>
            <a:off x="36576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21"/>
          <p:cNvCxnSpPr/>
          <p:nvPr userDrawn="1"/>
        </p:nvCxnSpPr>
        <p:spPr>
          <a:xfrm>
            <a:off x="54864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3"/>
          <p:cNvSpPr txBox="1">
            <a:spLocks/>
          </p:cNvSpPr>
          <p:nvPr userDrawn="1"/>
        </p:nvSpPr>
        <p:spPr>
          <a:xfrm>
            <a:off x="490538" y="6484938"/>
            <a:ext cx="519112" cy="304800"/>
          </a:xfrm>
          <a:prstGeom prst="rect">
            <a:avLst/>
          </a:prstGeom>
        </p:spPr>
        <p:txBody>
          <a:bodyPr anchor="ctr"/>
          <a:lstStyle/>
          <a:p>
            <a:pPr>
              <a:defRPr/>
            </a:pPr>
            <a:fld id="{9E594AB5-DE47-4585-9390-0E5F65008D80}" type="slidenum">
              <a:rPr lang="pt-BR" sz="1300">
                <a:solidFill>
                  <a:srgbClr val="666666"/>
                </a:solidFill>
                <a:latin typeface="Tahoma"/>
                <a:cs typeface="Tahoma"/>
              </a:rPr>
              <a:pPr>
                <a:defRPr/>
              </a:pPr>
              <a:t>‹nº›</a:t>
            </a:fld>
            <a:endParaRPr lang="pt-BR" sz="1300" dirty="0">
              <a:solidFill>
                <a:srgbClr val="666666"/>
              </a:solidFill>
              <a:latin typeface="Tahoma"/>
              <a:cs typeface="Tahoma"/>
            </a:endParaRPr>
          </a:p>
        </p:txBody>
      </p:sp>
    </p:spTree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3"/>
          <p:cNvCxnSpPr/>
          <p:nvPr userDrawn="1"/>
        </p:nvCxnSpPr>
        <p:spPr>
          <a:xfrm>
            <a:off x="73152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11"/>
          <p:cNvCxnSpPr/>
          <p:nvPr userDrawn="1"/>
        </p:nvCxnSpPr>
        <p:spPr>
          <a:xfrm>
            <a:off x="0" y="6408738"/>
            <a:ext cx="1828800" cy="1587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9"/>
          <p:cNvCxnSpPr/>
          <p:nvPr userDrawn="1"/>
        </p:nvCxnSpPr>
        <p:spPr>
          <a:xfrm>
            <a:off x="18288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0"/>
          <p:cNvCxnSpPr/>
          <p:nvPr userDrawn="1"/>
        </p:nvCxnSpPr>
        <p:spPr>
          <a:xfrm>
            <a:off x="36576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21"/>
          <p:cNvCxnSpPr/>
          <p:nvPr userDrawn="1"/>
        </p:nvCxnSpPr>
        <p:spPr>
          <a:xfrm>
            <a:off x="54864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3"/>
          <p:cNvSpPr txBox="1">
            <a:spLocks/>
          </p:cNvSpPr>
          <p:nvPr userDrawn="1"/>
        </p:nvSpPr>
        <p:spPr>
          <a:xfrm>
            <a:off x="490538" y="6484938"/>
            <a:ext cx="519112" cy="304800"/>
          </a:xfrm>
          <a:prstGeom prst="rect">
            <a:avLst/>
          </a:prstGeom>
        </p:spPr>
        <p:txBody>
          <a:bodyPr anchor="ctr"/>
          <a:lstStyle/>
          <a:p>
            <a:pPr>
              <a:defRPr/>
            </a:pPr>
            <a:fld id="{9E594AB5-DE47-4585-9390-0E5F65008D80}" type="slidenum">
              <a:rPr lang="pt-BR" sz="1300">
                <a:solidFill>
                  <a:srgbClr val="666666"/>
                </a:solidFill>
                <a:latin typeface="Tahoma"/>
                <a:cs typeface="Tahoma"/>
              </a:rPr>
              <a:pPr>
                <a:defRPr/>
              </a:pPr>
              <a:t>‹nº›</a:t>
            </a:fld>
            <a:endParaRPr lang="pt-BR" sz="1300" dirty="0">
              <a:solidFill>
                <a:srgbClr val="666666"/>
              </a:solidFill>
              <a:latin typeface="Tahoma"/>
              <a:cs typeface="Tahoma"/>
            </a:endParaRPr>
          </a:p>
        </p:txBody>
      </p:sp>
    </p:spTree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156" y="6356431"/>
            <a:ext cx="2133987" cy="365460"/>
          </a:xfrm>
          <a:prstGeom prst="rect">
            <a:avLst/>
          </a:prstGeom>
        </p:spPr>
        <p:txBody>
          <a:bodyPr lIns="55385" tIns="27693" rIns="55385" bIns="27693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C0C0C"/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193" y="6356431"/>
            <a:ext cx="2895615" cy="365460"/>
          </a:xfrm>
          <a:prstGeom prst="rect">
            <a:avLst/>
          </a:prstGeom>
        </p:spPr>
        <p:txBody>
          <a:bodyPr lIns="55385" tIns="27693" rIns="55385" bIns="27693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C0C0C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2858" y="6356431"/>
            <a:ext cx="2133987" cy="365460"/>
          </a:xfrm>
          <a:prstGeom prst="rect">
            <a:avLst/>
          </a:prstGeom>
        </p:spPr>
        <p:txBody>
          <a:bodyPr lIns="55385" tIns="27693" rIns="55385" bIns="27693"/>
          <a:lstStyle>
            <a:lvl1pPr>
              <a:defRPr/>
            </a:lvl1pPr>
          </a:lstStyle>
          <a:p>
            <a:pPr>
              <a:defRPr/>
            </a:pPr>
            <a:fld id="{38ACABC1-41C6-4E27-9038-97FCD99DCCF1}" type="slidenum">
              <a:rPr lang="en-US">
                <a:solidFill>
                  <a:srgbClr val="0C0C0C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0C0C0C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Figura1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2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 r="391"/>
          <a:stretch>
            <a:fillRect/>
          </a:stretch>
        </p:blipFill>
        <p:spPr bwMode="auto">
          <a:xfrm>
            <a:off x="5441955" y="5176853"/>
            <a:ext cx="32385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422052"/>
            <a:ext cx="7543800" cy="774700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4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pic>
        <p:nvPicPr>
          <p:cNvPr id="4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 bwMode="auto">
          <a:xfrm>
            <a:off x="7284720" y="6419088"/>
            <a:ext cx="1859280" cy="43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11"/>
          <p:cNvCxnSpPr/>
          <p:nvPr userDrawn="1"/>
        </p:nvCxnSpPr>
        <p:spPr>
          <a:xfrm>
            <a:off x="-1" y="6408820"/>
            <a:ext cx="1828800" cy="1464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3"/>
          <p:cNvCxnSpPr/>
          <p:nvPr userDrawn="1"/>
        </p:nvCxnSpPr>
        <p:spPr>
          <a:xfrm>
            <a:off x="73151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9"/>
          <p:cNvCxnSpPr/>
          <p:nvPr userDrawn="1"/>
        </p:nvCxnSpPr>
        <p:spPr>
          <a:xfrm>
            <a:off x="18287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20"/>
          <p:cNvCxnSpPr/>
          <p:nvPr userDrawn="1"/>
        </p:nvCxnSpPr>
        <p:spPr>
          <a:xfrm>
            <a:off x="36575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1"/>
          <p:cNvCxnSpPr/>
          <p:nvPr userDrawn="1"/>
        </p:nvCxnSpPr>
        <p:spPr>
          <a:xfrm>
            <a:off x="54863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  <p:transition/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ítulo e 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8900" y="248532"/>
            <a:ext cx="8902700" cy="328458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Tabela 2"/>
          <p:cNvSpPr>
            <a:spLocks noGrp="1"/>
          </p:cNvSpPr>
          <p:nvPr>
            <p:ph type="tbl" idx="1"/>
          </p:nvPr>
        </p:nvSpPr>
        <p:spPr>
          <a:xfrm>
            <a:off x="152400" y="1058883"/>
            <a:ext cx="8826500" cy="5067300"/>
          </a:xfrm>
        </p:spPr>
        <p:txBody>
          <a:bodyPr/>
          <a:lstStyle/>
          <a:p>
            <a:endParaRPr lang="pt-BR"/>
          </a:p>
        </p:txBody>
      </p:sp>
    </p:spTree>
  </p:cSld>
  <p:clrMapOvr>
    <a:masterClrMapping/>
  </p:clrMapOvr>
  <p:transition/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342900" y="914400"/>
            <a:ext cx="845820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/>
          <p:nvPr userDrawn="1"/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52413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8" name="Espaço Reservado para Texto 16"/>
          <p:cNvSpPr>
            <a:spLocks noGrp="1"/>
          </p:cNvSpPr>
          <p:nvPr>
            <p:ph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10" name="Espaço Reservado para Número de Slide 4"/>
          <p:cNvSpPr txBox="1">
            <a:spLocks noGrp="1"/>
          </p:cNvSpPr>
          <p:nvPr userDrawn="1">
            <p:custDataLst>
              <p:tags r:id="rId1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pic>
        <p:nvPicPr>
          <p:cNvPr id="11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</p:spTree>
  </p:cSld>
  <p:clrMapOvr>
    <a:masterClrMapping/>
  </p:clrMapOvr>
  <p:transition/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206274" name="think-cell Slide" r:id="rId4" imgW="0" imgH="0" progId="">
              <p:embed/>
            </p:oleObj>
          </a:graphicData>
        </a:graphic>
      </p:graphicFrame>
      <p:pic>
        <p:nvPicPr>
          <p:cNvPr id="13" name="Picture 7" descr="logo"/>
          <p:cNvPicPr>
            <a:picLocks noChangeAspect="1" noChangeArrowheads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Straight Connector 8"/>
          <p:cNvCxnSpPr/>
          <p:nvPr userDrawn="1"/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ço Reservado para Texto 16"/>
          <p:cNvSpPr>
            <a:spLocks noGrp="1"/>
          </p:cNvSpPr>
          <p:nvPr>
            <p:ph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18" name="Espaço Reservado para Número de Slide 4"/>
          <p:cNvSpPr txBox="1">
            <a:spLocks noGrp="1"/>
          </p:cNvSpPr>
          <p:nvPr userDrawn="1">
            <p:custDataLst>
              <p:tags r:id="rId2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pic>
        <p:nvPicPr>
          <p:cNvPr id="19" name="Picture 7" descr="logo"/>
          <p:cNvPicPr>
            <a:picLocks noChangeAspect="1" noChangeArrowheads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568876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J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FETTIG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/ M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TODMAN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VISIT</a:t>
            </a:r>
          </a:p>
        </p:txBody>
      </p:sp>
    </p:spTree>
  </p:cSld>
  <p:clrMapOvr>
    <a:masterClrMapping/>
  </p:clrMapOvr>
  <p:transition/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342900" y="914400"/>
            <a:ext cx="845820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8" name="Espaço Reservado para Número de Slide 4"/>
          <p:cNvSpPr txBox="1">
            <a:spLocks noGrp="1"/>
          </p:cNvSpPr>
          <p:nvPr userDrawn="1">
            <p:custDataLst>
              <p:tags r:id="rId1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3568876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J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FETTIG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/ M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TODMAN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VISIT</a:t>
            </a:r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</p:spTree>
  </p:cSld>
  <p:clrMapOvr>
    <a:masterClrMapping/>
  </p:clrMapOvr>
  <p:transition/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522390" y="9913297"/>
            <a:ext cx="4468602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4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4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1433795" y="110933"/>
            <a:ext cx="2261508" cy="1152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14" y="347864"/>
            <a:ext cx="10852386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1391373"/>
            <a:ext cx="9575634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10446155" y="1391373"/>
            <a:ext cx="2959742" cy="8348211"/>
          </a:xfrm>
          <a:prstGeom prst="rect">
            <a:avLst/>
          </a:prstGeom>
        </p:spPr>
        <p:txBody>
          <a:bodyPr lIns="135229" tIns="67616" rIns="135229" bIns="67616"/>
          <a:lstStyle>
            <a:lvl1pPr marL="0" indent="0">
              <a:defRPr sz="23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2874724" y="9913297"/>
            <a:ext cx="5310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05" indent="-342705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05" indent="-342705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208322" name="think-cell Slide" r:id="rId5" imgW="0" imgH="0" progId="">
              <p:embed/>
            </p:oleObj>
          </a:graphicData>
        </a:graphic>
      </p:graphicFrame>
      <p:cxnSp>
        <p:nvCxnSpPr>
          <p:cNvPr id="4" name="Straight Connector 8"/>
          <p:cNvCxnSpPr/>
          <p:nvPr>
            <p:custDataLst>
              <p:tags r:id="rId2"/>
            </p:custDataLst>
          </p:nvPr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ítulo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10" name="Retângulo 9"/>
          <p:cNvSpPr/>
          <p:nvPr userDrawn="1"/>
        </p:nvSpPr>
        <p:spPr bwMode="auto">
          <a:xfrm>
            <a:off x="323528" y="980728"/>
            <a:ext cx="6624736" cy="2592288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</p:spPr>
        <p:txBody>
          <a:bodyPr wrap="square" lIns="35981" tIns="35981" rIns="35981" bIns="35981" rtlCol="0" anchor="ctr">
            <a:noAutofit/>
          </a:bodyPr>
          <a:lstStyle/>
          <a:p>
            <a:pPr algn="ctr" defTabSz="913876"/>
            <a:endParaRPr lang="en-US" dirty="0" err="1">
              <a:solidFill>
                <a:srgbClr val="0C0C0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</p:spTree>
  </p:cSld>
  <p:clrMapOvr>
    <a:masterClrMapping/>
  </p:clrMapOvr>
  <p:transition/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423278" y="8036462"/>
            <a:ext cx="3666553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8467108" y="1692637"/>
            <a:ext cx="2398514" cy="2401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597" tIns="54799" rIns="109597" bIns="54799" anchor="ctr"/>
          <a:lstStyle/>
          <a:p>
            <a:pPr algn="ctr" defTabSz="112785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8606446" y="1838979"/>
            <a:ext cx="2121627" cy="1763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8606446" y="3157819"/>
            <a:ext cx="2121627" cy="3526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8464023" y="1985190"/>
            <a:ext cx="2403782" cy="992594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2100" cap="all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8464023" y="3293609"/>
            <a:ext cx="2403782" cy="657970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1800" cap="none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691922"/>
            <a:ext cx="7758687" cy="2402530"/>
          </a:xfrm>
          <a:prstGeom prst="rect">
            <a:avLst/>
          </a:prstGeom>
        </p:spPr>
        <p:txBody>
          <a:bodyPr lIns="109597" tIns="54799" rIns="109597" bIns="54799" anchor="ctr"/>
          <a:lstStyle>
            <a:lvl1pPr algn="r">
              <a:defRPr sz="33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941591" y="7073787"/>
            <a:ext cx="1781250" cy="611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299545" y="6915101"/>
            <a:ext cx="1567852" cy="929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357960" y="7038514"/>
            <a:ext cx="2066955" cy="6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6906310" y="5774343"/>
            <a:ext cx="1839450" cy="992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4853469" y="5786679"/>
            <a:ext cx="1555507" cy="97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257438" y="5864269"/>
            <a:ext cx="2255662" cy="80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423270" y="6943308"/>
            <a:ext cx="1581962" cy="862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4661236" y="7098458"/>
            <a:ext cx="1968193" cy="5501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5"/>
            <a:ext cx="10438960" cy="4511794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745764" y="7257154"/>
            <a:ext cx="950587" cy="516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334873" y="7350589"/>
            <a:ext cx="1181621" cy="3314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3276" y="7248335"/>
            <a:ext cx="1354455" cy="483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544837" y="7311800"/>
            <a:ext cx="1239820" cy="40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213314" y="7190151"/>
            <a:ext cx="1102259" cy="595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980545" y="7197204"/>
            <a:ext cx="934715" cy="585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6066830" y="7331194"/>
            <a:ext cx="1068750" cy="36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922089" y="7237747"/>
            <a:ext cx="940006" cy="55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206161" y="7331212"/>
            <a:ext cx="846534" cy="282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0022620" y="7207783"/>
            <a:ext cx="844770" cy="504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8570" y="7197195"/>
            <a:ext cx="1015841" cy="534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661239" y="7343546"/>
            <a:ext cx="1128713" cy="218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2865872" y="7355883"/>
            <a:ext cx="1366800" cy="213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703651" y="7377036"/>
            <a:ext cx="846534" cy="163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782812" y="7235990"/>
            <a:ext cx="809499" cy="440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7371905" y="7317089"/>
            <a:ext cx="989388" cy="27681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367554" y="439336"/>
            <a:ext cx="12980303" cy="490970"/>
          </a:xfrm>
          <a:prstGeom prst="rect">
            <a:avLst/>
          </a:prstGeom>
        </p:spPr>
        <p:txBody>
          <a:bodyPr lIns="139148" tIns="69576" rIns="139148" bIns="69576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232140" y="1611189"/>
            <a:ext cx="12883579" cy="7710500"/>
          </a:xfrm>
          <a:prstGeom prst="rect">
            <a:avLst/>
          </a:prstGeom>
        </p:spPr>
        <p:txBody>
          <a:bodyPr lIns="139148" tIns="69576" rIns="139148" bIns="69576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087" y="297657"/>
            <a:ext cx="10156827" cy="483687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899264" y="8110518"/>
            <a:ext cx="3573081" cy="320894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32307" y="8110508"/>
            <a:ext cx="507921" cy="22568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423274" y="8036462"/>
            <a:ext cx="3620699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2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2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9264263" y="89931"/>
            <a:ext cx="1832394" cy="934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10" y="282000"/>
            <a:ext cx="8793179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127949"/>
            <a:ext cx="7758687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8464026" y="1127949"/>
            <a:ext cx="2398140" cy="6767690"/>
          </a:xfrm>
          <a:prstGeom prst="rect">
            <a:avLst/>
          </a:prstGeom>
        </p:spPr>
        <p:txBody>
          <a:bodyPr lIns="109597" tIns="54799" rIns="109597" bIns="54799"/>
          <a:lstStyle>
            <a:lvl1pPr marL="0" indent="0">
              <a:defRPr sz="19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0431790" y="8036462"/>
            <a:ext cx="430321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595623" y="7410009"/>
            <a:ext cx="9819833" cy="603139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12779" tIns="56391" rIns="112779" bIns="56391" anchor="ctr"/>
          <a:lstStyle>
            <a:lvl1pPr marL="422919" indent="-422919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2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423201" y="311364"/>
            <a:ext cx="9310424" cy="955623"/>
          </a:xfrm>
          <a:prstGeom prst="rect">
            <a:avLst/>
          </a:prstGeom>
        </p:spPr>
        <p:txBody>
          <a:bodyPr lIns="112779" tIns="56391" rIns="112779" bIns="56391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367554" y="439332"/>
            <a:ext cx="12980303" cy="490970"/>
          </a:xfrm>
          <a:prstGeom prst="rect">
            <a:avLst/>
          </a:prstGeom>
        </p:spPr>
        <p:txBody>
          <a:bodyPr lIns="139163" tIns="69582" rIns="139163" bIns="69582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232140" y="1611189"/>
            <a:ext cx="12883579" cy="7710500"/>
          </a:xfrm>
          <a:prstGeom prst="rect">
            <a:avLst/>
          </a:prstGeom>
        </p:spPr>
        <p:txBody>
          <a:bodyPr lIns="139163" tIns="69582" rIns="139163" bIns="69582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540" y="367172"/>
            <a:ext cx="12535376" cy="596647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514946" y="10004656"/>
            <a:ext cx="4409833" cy="395835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2998777" y="10004642"/>
            <a:ext cx="626868" cy="278391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522397" y="9913297"/>
            <a:ext cx="4525194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10449961" y="2087938"/>
            <a:ext cx="2960203" cy="29622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229" tIns="67616" rIns="135229" bIns="67616" anchor="ctr"/>
          <a:lstStyle/>
          <a:p>
            <a:pPr algn="ctr" defTabSz="139162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10621920" y="2268465"/>
            <a:ext cx="2618474" cy="2175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10621920" y="3895297"/>
            <a:ext cx="2618474" cy="4349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10446151" y="2448810"/>
            <a:ext cx="2966705" cy="1224404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600" cap="all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10446151" y="4062798"/>
            <a:ext cx="2966705" cy="811632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200" cap="none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2087056"/>
            <a:ext cx="9575634" cy="2963615"/>
          </a:xfrm>
          <a:prstGeom prst="rect">
            <a:avLst/>
          </a:prstGeom>
        </p:spPr>
        <p:txBody>
          <a:bodyPr lIns="135229" tIns="67616" rIns="135229" bIns="67616" anchor="ctr"/>
          <a:lstStyle>
            <a:lvl1pPr algn="r">
              <a:defRPr sz="41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567193" y="8725792"/>
            <a:ext cx="2198388" cy="754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1477336" y="8530049"/>
            <a:ext cx="1935015" cy="1146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910151" y="8682294"/>
            <a:ext cx="2550999" cy="835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8523645" y="7122865"/>
            <a:ext cx="2270216" cy="1224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990074" y="7138096"/>
            <a:ext cx="1919779" cy="1202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786085" y="7233791"/>
            <a:ext cx="2783898" cy="996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522397" y="8564844"/>
            <a:ext cx="1952429" cy="10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5752811" y="8756240"/>
            <a:ext cx="2429109" cy="6785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7"/>
            <a:ext cx="12883579" cy="5565476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0793862" y="8951970"/>
            <a:ext cx="1173198" cy="637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052566" y="9067255"/>
            <a:ext cx="1458336" cy="40888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2395" y="8941107"/>
            <a:ext cx="1671644" cy="595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609151" y="9019393"/>
            <a:ext cx="1530164" cy="502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965814" y="8869335"/>
            <a:ext cx="1360389" cy="735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444358" y="8878034"/>
            <a:ext cx="1153609" cy="722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7487579" y="9043329"/>
            <a:ext cx="1319033" cy="454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2245674" y="8928060"/>
            <a:ext cx="1160139" cy="68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735106" y="9140536"/>
            <a:ext cx="12119463" cy="743995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39154" tIns="69579" rIns="139154" bIns="69579" anchor="ctr"/>
          <a:lstStyle>
            <a:lvl1pPr marL="521830" indent="-52183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7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522307" y="384082"/>
            <a:ext cx="11490760" cy="1178799"/>
          </a:xfrm>
          <a:prstGeom prst="rect">
            <a:avLst/>
          </a:prstGeom>
        </p:spPr>
        <p:txBody>
          <a:bodyPr lIns="139154" tIns="69579" rIns="139154" bIns="69579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659532" y="9043334"/>
            <a:ext cx="1044777" cy="3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2369734" y="8891094"/>
            <a:ext cx="1042600" cy="622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8929" y="8878036"/>
            <a:ext cx="1253733" cy="659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752810" y="9058545"/>
            <a:ext cx="1393038" cy="269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537009" y="9073771"/>
            <a:ext cx="1686880" cy="2631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102617" y="9099865"/>
            <a:ext cx="1044777" cy="202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10839589" y="8925890"/>
            <a:ext cx="999069" cy="543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098281" y="9025929"/>
            <a:ext cx="1221085" cy="341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522390" y="9913297"/>
            <a:ext cx="4468602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4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4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1433795" y="110933"/>
            <a:ext cx="2261508" cy="1152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14" y="347864"/>
            <a:ext cx="10852386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1391373"/>
            <a:ext cx="9575634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10446155" y="1391373"/>
            <a:ext cx="2959742" cy="8348211"/>
          </a:xfrm>
          <a:prstGeom prst="rect">
            <a:avLst/>
          </a:prstGeom>
        </p:spPr>
        <p:txBody>
          <a:bodyPr lIns="135229" tIns="67616" rIns="135229" bIns="67616"/>
          <a:lstStyle>
            <a:lvl1pPr marL="0" indent="0">
              <a:defRPr sz="23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2874724" y="9913297"/>
            <a:ext cx="5310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735106" y="9140536"/>
            <a:ext cx="12119463" cy="743995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39154" tIns="69579" rIns="139154" bIns="69579" anchor="ctr"/>
          <a:lstStyle>
            <a:lvl1pPr marL="521830" indent="-52183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7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522307" y="384082"/>
            <a:ext cx="11490760" cy="1178799"/>
          </a:xfrm>
          <a:prstGeom prst="rect">
            <a:avLst/>
          </a:prstGeom>
        </p:spPr>
        <p:txBody>
          <a:bodyPr lIns="139154" tIns="69579" rIns="139154" bIns="69579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522397" y="9913297"/>
            <a:ext cx="4525194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10449961" y="2087938"/>
            <a:ext cx="2960203" cy="29622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229" tIns="67616" rIns="135229" bIns="67616" anchor="ctr"/>
          <a:lstStyle/>
          <a:p>
            <a:pPr algn="ctr" defTabSz="139162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10621920" y="2268465"/>
            <a:ext cx="2618474" cy="2175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10621920" y="3895297"/>
            <a:ext cx="2618474" cy="4349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10446151" y="2448810"/>
            <a:ext cx="2966705" cy="1224404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600" cap="all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10446151" y="4062798"/>
            <a:ext cx="2966705" cy="811632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200" cap="none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2087056"/>
            <a:ext cx="9575634" cy="2963615"/>
          </a:xfrm>
          <a:prstGeom prst="rect">
            <a:avLst/>
          </a:prstGeom>
        </p:spPr>
        <p:txBody>
          <a:bodyPr lIns="135229" tIns="67616" rIns="135229" bIns="67616" anchor="ctr"/>
          <a:lstStyle>
            <a:lvl1pPr algn="r">
              <a:defRPr sz="41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567193" y="8725792"/>
            <a:ext cx="2198388" cy="754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1477336" y="8530049"/>
            <a:ext cx="1935015" cy="1146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910151" y="8682294"/>
            <a:ext cx="2550999" cy="835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8523645" y="7122865"/>
            <a:ext cx="2270216" cy="1224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990074" y="7138096"/>
            <a:ext cx="1919779" cy="1202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786085" y="7233791"/>
            <a:ext cx="2783898" cy="996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522397" y="8564844"/>
            <a:ext cx="1952429" cy="10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5752811" y="8756240"/>
            <a:ext cx="2429109" cy="6785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7"/>
            <a:ext cx="12883579" cy="5565476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0793862" y="8951970"/>
            <a:ext cx="1173198" cy="637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052566" y="9067255"/>
            <a:ext cx="1458336" cy="40888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2395" y="8941107"/>
            <a:ext cx="1671644" cy="595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609151" y="9019393"/>
            <a:ext cx="1530164" cy="502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965814" y="8869335"/>
            <a:ext cx="1360389" cy="735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444358" y="8878034"/>
            <a:ext cx="1153609" cy="722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7487579" y="9043329"/>
            <a:ext cx="1319033" cy="454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2245674" y="8928060"/>
            <a:ext cx="1160139" cy="68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659532" y="9043334"/>
            <a:ext cx="1044777" cy="3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2369734" y="8891094"/>
            <a:ext cx="1042600" cy="622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8929" y="8878036"/>
            <a:ext cx="1253733" cy="659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752810" y="9058545"/>
            <a:ext cx="1393038" cy="269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537009" y="9073771"/>
            <a:ext cx="1686880" cy="2631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102617" y="9099865"/>
            <a:ext cx="1044777" cy="202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10839589" y="8925890"/>
            <a:ext cx="999069" cy="543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098281" y="9025929"/>
            <a:ext cx="1221085" cy="341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540" y="367172"/>
            <a:ext cx="12535376" cy="596647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514946" y="10004656"/>
            <a:ext cx="4409833" cy="395835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2998777" y="10004642"/>
            <a:ext cx="626868" cy="278391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423278" y="8036462"/>
            <a:ext cx="3666553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8467108" y="1692637"/>
            <a:ext cx="2398514" cy="2401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597" tIns="54799" rIns="109597" bIns="54799" anchor="ctr"/>
          <a:lstStyle/>
          <a:p>
            <a:pPr algn="ctr" defTabSz="112785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8606446" y="1838979"/>
            <a:ext cx="2121627" cy="1763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8606446" y="3157819"/>
            <a:ext cx="2121627" cy="3526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8464023" y="1985190"/>
            <a:ext cx="2403782" cy="992594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2100" cap="all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8464023" y="3293609"/>
            <a:ext cx="2403782" cy="657970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1800" cap="none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691922"/>
            <a:ext cx="7758687" cy="2402530"/>
          </a:xfrm>
          <a:prstGeom prst="rect">
            <a:avLst/>
          </a:prstGeom>
        </p:spPr>
        <p:txBody>
          <a:bodyPr lIns="109597" tIns="54799" rIns="109597" bIns="54799" anchor="ctr"/>
          <a:lstStyle>
            <a:lvl1pPr algn="r">
              <a:defRPr sz="33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522390" y="9913297"/>
            <a:ext cx="4468602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4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4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1433795" y="110933"/>
            <a:ext cx="2261508" cy="1152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14" y="347864"/>
            <a:ext cx="10852386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1391373"/>
            <a:ext cx="9575634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10446155" y="1391373"/>
            <a:ext cx="2959742" cy="8348211"/>
          </a:xfrm>
          <a:prstGeom prst="rect">
            <a:avLst/>
          </a:prstGeom>
        </p:spPr>
        <p:txBody>
          <a:bodyPr lIns="135229" tIns="67616" rIns="135229" bIns="67616"/>
          <a:lstStyle>
            <a:lvl1pPr marL="0" indent="0">
              <a:defRPr sz="23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2874724" y="9913297"/>
            <a:ext cx="5310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367554" y="439336"/>
            <a:ext cx="12980303" cy="490970"/>
          </a:xfrm>
          <a:prstGeom prst="rect">
            <a:avLst/>
          </a:prstGeom>
        </p:spPr>
        <p:txBody>
          <a:bodyPr lIns="139148" tIns="69576" rIns="139148" bIns="69576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232140" y="1611189"/>
            <a:ext cx="12883579" cy="7710500"/>
          </a:xfrm>
          <a:prstGeom prst="rect">
            <a:avLst/>
          </a:prstGeom>
        </p:spPr>
        <p:txBody>
          <a:bodyPr lIns="139148" tIns="69576" rIns="139148" bIns="69576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735106" y="9140536"/>
            <a:ext cx="12119463" cy="743995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39154" tIns="69579" rIns="139154" bIns="69579" anchor="ctr"/>
          <a:lstStyle>
            <a:lvl1pPr marL="521830" indent="-52183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7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522307" y="384082"/>
            <a:ext cx="11490760" cy="1178799"/>
          </a:xfrm>
          <a:prstGeom prst="rect">
            <a:avLst/>
          </a:prstGeom>
        </p:spPr>
        <p:txBody>
          <a:bodyPr lIns="139154" tIns="69579" rIns="139154" bIns="69579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423278" y="8036462"/>
            <a:ext cx="3666553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8467108" y="1692637"/>
            <a:ext cx="2398514" cy="2401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597" tIns="54799" rIns="109597" bIns="54799" anchor="ctr"/>
          <a:lstStyle/>
          <a:p>
            <a:pPr algn="ctr" defTabSz="112785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8606446" y="1838979"/>
            <a:ext cx="2121627" cy="1763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8606446" y="3157819"/>
            <a:ext cx="2121627" cy="3526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8464023" y="1985190"/>
            <a:ext cx="2403782" cy="992594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2100" cap="all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8464023" y="3293609"/>
            <a:ext cx="2403782" cy="657970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1800" cap="none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691922"/>
            <a:ext cx="7758687" cy="2402530"/>
          </a:xfrm>
          <a:prstGeom prst="rect">
            <a:avLst/>
          </a:prstGeom>
        </p:spPr>
        <p:txBody>
          <a:bodyPr lIns="109597" tIns="54799" rIns="109597" bIns="54799" anchor="ctr"/>
          <a:lstStyle>
            <a:lvl1pPr algn="r">
              <a:defRPr sz="33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941591" y="7073787"/>
            <a:ext cx="1781250" cy="611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299545" y="6915101"/>
            <a:ext cx="1567852" cy="929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357960" y="7038514"/>
            <a:ext cx="2066955" cy="6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6906310" y="5774343"/>
            <a:ext cx="1839450" cy="992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4853469" y="5786679"/>
            <a:ext cx="1555507" cy="97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257438" y="5864269"/>
            <a:ext cx="2255662" cy="80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423270" y="6943308"/>
            <a:ext cx="1581962" cy="862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4661236" y="7098458"/>
            <a:ext cx="1968193" cy="5501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5"/>
            <a:ext cx="10438960" cy="4511794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745764" y="7257154"/>
            <a:ext cx="950587" cy="516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334873" y="7350589"/>
            <a:ext cx="1181621" cy="3314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3276" y="7248335"/>
            <a:ext cx="1354455" cy="483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544837" y="7311800"/>
            <a:ext cx="1239820" cy="40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213314" y="7190151"/>
            <a:ext cx="1102259" cy="595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980545" y="7197204"/>
            <a:ext cx="934715" cy="585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6066830" y="7331194"/>
            <a:ext cx="1068750" cy="36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922089" y="7237747"/>
            <a:ext cx="940006" cy="55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206161" y="7331212"/>
            <a:ext cx="846534" cy="282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0022620" y="7207783"/>
            <a:ext cx="844770" cy="504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8570" y="7197195"/>
            <a:ext cx="1015841" cy="534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661239" y="7343546"/>
            <a:ext cx="1128713" cy="218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2865872" y="7355883"/>
            <a:ext cx="1366800" cy="213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703651" y="7377036"/>
            <a:ext cx="846534" cy="163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782812" y="7235990"/>
            <a:ext cx="809499" cy="440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7371905" y="7317089"/>
            <a:ext cx="989388" cy="27681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087" y="297657"/>
            <a:ext cx="10156827" cy="483687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899264" y="8110518"/>
            <a:ext cx="3573081" cy="320894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32307" y="8110508"/>
            <a:ext cx="507921" cy="22568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941591" y="7073787"/>
            <a:ext cx="1781250" cy="611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299545" y="6915101"/>
            <a:ext cx="1567852" cy="929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357960" y="7038514"/>
            <a:ext cx="2066955" cy="6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6906310" y="5774343"/>
            <a:ext cx="1839450" cy="992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4853469" y="5786679"/>
            <a:ext cx="1555507" cy="97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257438" y="5864269"/>
            <a:ext cx="2255662" cy="80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423270" y="6943308"/>
            <a:ext cx="1581962" cy="862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4661236" y="7098458"/>
            <a:ext cx="1968193" cy="5501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5"/>
            <a:ext cx="10438960" cy="4511794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423274" y="8036462"/>
            <a:ext cx="3620699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2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2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9264263" y="89931"/>
            <a:ext cx="1832394" cy="934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10" y="282000"/>
            <a:ext cx="8793179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127949"/>
            <a:ext cx="7758687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8464026" y="1127949"/>
            <a:ext cx="2398140" cy="6767690"/>
          </a:xfrm>
          <a:prstGeom prst="rect">
            <a:avLst/>
          </a:prstGeom>
        </p:spPr>
        <p:txBody>
          <a:bodyPr lIns="109597" tIns="54799" rIns="109597" bIns="54799"/>
          <a:lstStyle>
            <a:lvl1pPr marL="0" indent="0">
              <a:defRPr sz="19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0431790" y="8036462"/>
            <a:ext cx="430321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297817" y="356162"/>
            <a:ext cx="10517331" cy="398017"/>
          </a:xfrm>
          <a:prstGeom prst="rect">
            <a:avLst/>
          </a:prstGeom>
        </p:spPr>
        <p:txBody>
          <a:bodyPr lIns="112772" tIns="56388" rIns="112772" bIns="56388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188090" y="1306154"/>
            <a:ext cx="10438960" cy="6250713"/>
          </a:xfrm>
          <a:prstGeom prst="rect">
            <a:avLst/>
          </a:prstGeom>
        </p:spPr>
        <p:txBody>
          <a:bodyPr lIns="112772" tIns="56388" rIns="112772" bIns="56388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595623" y="7410009"/>
            <a:ext cx="9819833" cy="603139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12779" tIns="56391" rIns="112779" bIns="56391" anchor="ctr"/>
          <a:lstStyle>
            <a:lvl1pPr marL="422919" indent="-422919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2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423201" y="311364"/>
            <a:ext cx="9310424" cy="955623"/>
          </a:xfrm>
          <a:prstGeom prst="rect">
            <a:avLst/>
          </a:prstGeom>
        </p:spPr>
        <p:txBody>
          <a:bodyPr lIns="112779" tIns="56391" rIns="112779" bIns="56391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5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0" y="-7936"/>
            <a:ext cx="9144000" cy="6367463"/>
          </a:xfrm>
          <a:prstGeom prst="rect">
            <a:avLst/>
          </a:prstGeom>
          <a:solidFill>
            <a:srgbClr val="C6DE89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07" tIns="45705" rIns="91407" bIns="45705" anchor="ctr"/>
          <a:lstStyle/>
          <a:p>
            <a:pPr>
              <a:defRPr/>
            </a:pPr>
            <a:r>
              <a:rPr lang="en-US" dirty="0">
                <a:solidFill>
                  <a:srgbClr val="0C0C0C"/>
                </a:solidFill>
              </a:rPr>
              <a:t> 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6408738"/>
            <a:ext cx="9144000" cy="11112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0" y="1"/>
            <a:ext cx="9144000" cy="6367463"/>
          </a:xfrm>
          <a:prstGeom prst="rect">
            <a:avLst/>
          </a:prstGeom>
          <a:solidFill>
            <a:srgbClr val="F5643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07" tIns="45705" rIns="91407" bIns="45705" anchor="ctr"/>
          <a:lstStyle/>
          <a:p>
            <a:pPr>
              <a:defRPr/>
            </a:pPr>
            <a:r>
              <a:rPr lang="en-US" dirty="0">
                <a:solidFill>
                  <a:srgbClr val="0C0C0C"/>
                </a:solidFill>
              </a:rPr>
              <a:t> 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6408738"/>
            <a:ext cx="9144000" cy="11112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3"/>
          <p:cNvCxnSpPr/>
          <p:nvPr userDrawn="1"/>
        </p:nvCxnSpPr>
        <p:spPr>
          <a:xfrm>
            <a:off x="73152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11"/>
          <p:cNvCxnSpPr/>
          <p:nvPr userDrawn="1"/>
        </p:nvCxnSpPr>
        <p:spPr>
          <a:xfrm>
            <a:off x="0" y="6408738"/>
            <a:ext cx="1828800" cy="1587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9"/>
          <p:cNvCxnSpPr/>
          <p:nvPr userDrawn="1"/>
        </p:nvCxnSpPr>
        <p:spPr>
          <a:xfrm>
            <a:off x="18288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0"/>
          <p:cNvCxnSpPr/>
          <p:nvPr userDrawn="1"/>
        </p:nvCxnSpPr>
        <p:spPr>
          <a:xfrm>
            <a:off x="36576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21"/>
          <p:cNvCxnSpPr/>
          <p:nvPr userDrawn="1"/>
        </p:nvCxnSpPr>
        <p:spPr>
          <a:xfrm>
            <a:off x="54864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3"/>
          <p:cNvSpPr txBox="1">
            <a:spLocks/>
          </p:cNvSpPr>
          <p:nvPr userDrawn="1"/>
        </p:nvSpPr>
        <p:spPr>
          <a:xfrm>
            <a:off x="490538" y="6484938"/>
            <a:ext cx="519112" cy="304800"/>
          </a:xfrm>
          <a:prstGeom prst="rect">
            <a:avLst/>
          </a:prstGeom>
        </p:spPr>
        <p:txBody>
          <a:bodyPr anchor="ctr"/>
          <a:lstStyle/>
          <a:p>
            <a:pPr>
              <a:defRPr/>
            </a:pPr>
            <a:fld id="{9E594AB5-DE47-4585-9390-0E5F65008D80}" type="slidenum">
              <a:rPr lang="pt-BR" sz="1300">
                <a:solidFill>
                  <a:srgbClr val="666666"/>
                </a:solidFill>
                <a:latin typeface="Tahoma"/>
                <a:cs typeface="Tahoma"/>
              </a:rPr>
              <a:pPr>
                <a:defRPr/>
              </a:pPr>
              <a:t>‹nº›</a:t>
            </a:fld>
            <a:endParaRPr lang="pt-BR" sz="1300" dirty="0">
              <a:solidFill>
                <a:srgbClr val="666666"/>
              </a:solidFill>
              <a:latin typeface="Tahoma"/>
              <a:cs typeface="Tahoma"/>
            </a:endParaRPr>
          </a:p>
        </p:txBody>
      </p:sp>
    </p:spTree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3"/>
          <p:cNvCxnSpPr/>
          <p:nvPr userDrawn="1"/>
        </p:nvCxnSpPr>
        <p:spPr>
          <a:xfrm>
            <a:off x="73152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11"/>
          <p:cNvCxnSpPr/>
          <p:nvPr userDrawn="1"/>
        </p:nvCxnSpPr>
        <p:spPr>
          <a:xfrm>
            <a:off x="0" y="6408738"/>
            <a:ext cx="1828800" cy="1587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9"/>
          <p:cNvCxnSpPr/>
          <p:nvPr userDrawn="1"/>
        </p:nvCxnSpPr>
        <p:spPr>
          <a:xfrm>
            <a:off x="18288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0"/>
          <p:cNvCxnSpPr/>
          <p:nvPr userDrawn="1"/>
        </p:nvCxnSpPr>
        <p:spPr>
          <a:xfrm>
            <a:off x="36576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21"/>
          <p:cNvCxnSpPr/>
          <p:nvPr userDrawn="1"/>
        </p:nvCxnSpPr>
        <p:spPr>
          <a:xfrm>
            <a:off x="54864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3"/>
          <p:cNvSpPr txBox="1">
            <a:spLocks/>
          </p:cNvSpPr>
          <p:nvPr userDrawn="1"/>
        </p:nvSpPr>
        <p:spPr>
          <a:xfrm>
            <a:off x="490538" y="6484938"/>
            <a:ext cx="519112" cy="304800"/>
          </a:xfrm>
          <a:prstGeom prst="rect">
            <a:avLst/>
          </a:prstGeom>
        </p:spPr>
        <p:txBody>
          <a:bodyPr anchor="ctr"/>
          <a:lstStyle/>
          <a:p>
            <a:pPr>
              <a:defRPr/>
            </a:pPr>
            <a:fld id="{9E594AB5-DE47-4585-9390-0E5F65008D80}" type="slidenum">
              <a:rPr lang="pt-BR" sz="1300">
                <a:solidFill>
                  <a:srgbClr val="666666"/>
                </a:solidFill>
                <a:latin typeface="Tahoma"/>
                <a:cs typeface="Tahoma"/>
              </a:rPr>
              <a:pPr>
                <a:defRPr/>
              </a:pPr>
              <a:t>‹nº›</a:t>
            </a:fld>
            <a:endParaRPr lang="pt-BR" sz="1300" dirty="0">
              <a:solidFill>
                <a:srgbClr val="666666"/>
              </a:solidFill>
              <a:latin typeface="Tahoma"/>
              <a:cs typeface="Tahoma"/>
            </a:endParaRP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745764" y="7257154"/>
            <a:ext cx="950587" cy="516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334873" y="7350589"/>
            <a:ext cx="1181621" cy="3314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3276" y="7248335"/>
            <a:ext cx="1354455" cy="483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544837" y="7311800"/>
            <a:ext cx="1239820" cy="40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213314" y="7190151"/>
            <a:ext cx="1102259" cy="595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980545" y="7197204"/>
            <a:ext cx="934715" cy="585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6066830" y="7331194"/>
            <a:ext cx="1068750" cy="36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922089" y="7237747"/>
            <a:ext cx="940006" cy="55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3"/>
          <p:cNvCxnSpPr/>
          <p:nvPr userDrawn="1"/>
        </p:nvCxnSpPr>
        <p:spPr>
          <a:xfrm>
            <a:off x="73152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11"/>
          <p:cNvCxnSpPr/>
          <p:nvPr userDrawn="1"/>
        </p:nvCxnSpPr>
        <p:spPr>
          <a:xfrm>
            <a:off x="0" y="6408738"/>
            <a:ext cx="1828800" cy="1587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9"/>
          <p:cNvCxnSpPr/>
          <p:nvPr userDrawn="1"/>
        </p:nvCxnSpPr>
        <p:spPr>
          <a:xfrm>
            <a:off x="18288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0"/>
          <p:cNvCxnSpPr/>
          <p:nvPr userDrawn="1"/>
        </p:nvCxnSpPr>
        <p:spPr>
          <a:xfrm>
            <a:off x="36576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21"/>
          <p:cNvCxnSpPr/>
          <p:nvPr userDrawn="1"/>
        </p:nvCxnSpPr>
        <p:spPr>
          <a:xfrm>
            <a:off x="54864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3"/>
          <p:cNvSpPr txBox="1">
            <a:spLocks/>
          </p:cNvSpPr>
          <p:nvPr userDrawn="1"/>
        </p:nvSpPr>
        <p:spPr>
          <a:xfrm>
            <a:off x="490538" y="6484938"/>
            <a:ext cx="519112" cy="304800"/>
          </a:xfrm>
          <a:prstGeom prst="rect">
            <a:avLst/>
          </a:prstGeom>
        </p:spPr>
        <p:txBody>
          <a:bodyPr anchor="ctr"/>
          <a:lstStyle/>
          <a:p>
            <a:pPr>
              <a:defRPr/>
            </a:pPr>
            <a:fld id="{9E594AB5-DE47-4585-9390-0E5F65008D80}" type="slidenum">
              <a:rPr lang="pt-BR" sz="1300">
                <a:solidFill>
                  <a:srgbClr val="666666"/>
                </a:solidFill>
                <a:latin typeface="Tahoma"/>
                <a:cs typeface="Tahoma"/>
              </a:rPr>
              <a:pPr>
                <a:defRPr/>
              </a:pPr>
              <a:t>‹nº›</a:t>
            </a:fld>
            <a:endParaRPr lang="pt-BR" sz="1300" dirty="0">
              <a:solidFill>
                <a:srgbClr val="666666"/>
              </a:solidFill>
              <a:latin typeface="Tahoma"/>
              <a:cs typeface="Tahoma"/>
            </a:endParaRPr>
          </a:p>
        </p:txBody>
      </p:sp>
    </p:spTree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156" y="6356431"/>
            <a:ext cx="2133987" cy="365460"/>
          </a:xfrm>
          <a:prstGeom prst="rect">
            <a:avLst/>
          </a:prstGeom>
        </p:spPr>
        <p:txBody>
          <a:bodyPr lIns="55385" tIns="27693" rIns="55385" bIns="27693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C0C0C"/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193" y="6356431"/>
            <a:ext cx="2895615" cy="365460"/>
          </a:xfrm>
          <a:prstGeom prst="rect">
            <a:avLst/>
          </a:prstGeom>
        </p:spPr>
        <p:txBody>
          <a:bodyPr lIns="55385" tIns="27693" rIns="55385" bIns="27693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C0C0C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2858" y="6356431"/>
            <a:ext cx="2133987" cy="365460"/>
          </a:xfrm>
          <a:prstGeom prst="rect">
            <a:avLst/>
          </a:prstGeom>
        </p:spPr>
        <p:txBody>
          <a:bodyPr lIns="55385" tIns="27693" rIns="55385" bIns="27693"/>
          <a:lstStyle>
            <a:lvl1pPr>
              <a:defRPr/>
            </a:lvl1pPr>
          </a:lstStyle>
          <a:p>
            <a:pPr>
              <a:defRPr/>
            </a:pPr>
            <a:fld id="{38ACABC1-41C6-4E27-9038-97FCD99DCCF1}" type="slidenum">
              <a:rPr lang="en-US">
                <a:solidFill>
                  <a:srgbClr val="0C0C0C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0C0C0C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Figura1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2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 r="391"/>
          <a:stretch>
            <a:fillRect/>
          </a:stretch>
        </p:blipFill>
        <p:spPr bwMode="auto">
          <a:xfrm>
            <a:off x="5441955" y="5176853"/>
            <a:ext cx="32385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422052"/>
            <a:ext cx="7543800" cy="774700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4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pic>
        <p:nvPicPr>
          <p:cNvPr id="4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 bwMode="auto">
          <a:xfrm>
            <a:off x="7284720" y="6419088"/>
            <a:ext cx="1859280" cy="43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11"/>
          <p:cNvCxnSpPr/>
          <p:nvPr userDrawn="1"/>
        </p:nvCxnSpPr>
        <p:spPr>
          <a:xfrm>
            <a:off x="-1" y="6408820"/>
            <a:ext cx="1828800" cy="1464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3"/>
          <p:cNvCxnSpPr/>
          <p:nvPr userDrawn="1"/>
        </p:nvCxnSpPr>
        <p:spPr>
          <a:xfrm>
            <a:off x="73151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9"/>
          <p:cNvCxnSpPr/>
          <p:nvPr userDrawn="1"/>
        </p:nvCxnSpPr>
        <p:spPr>
          <a:xfrm>
            <a:off x="18287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20"/>
          <p:cNvCxnSpPr/>
          <p:nvPr userDrawn="1"/>
        </p:nvCxnSpPr>
        <p:spPr>
          <a:xfrm>
            <a:off x="36575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1"/>
          <p:cNvCxnSpPr/>
          <p:nvPr userDrawn="1"/>
        </p:nvCxnSpPr>
        <p:spPr>
          <a:xfrm>
            <a:off x="54863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  <p:transition/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ítulo e 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8900" y="248532"/>
            <a:ext cx="8902700" cy="328458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Tabela 2"/>
          <p:cNvSpPr>
            <a:spLocks noGrp="1"/>
          </p:cNvSpPr>
          <p:nvPr>
            <p:ph type="tbl" idx="1"/>
          </p:nvPr>
        </p:nvSpPr>
        <p:spPr>
          <a:xfrm>
            <a:off x="152400" y="1058883"/>
            <a:ext cx="8826500" cy="5067300"/>
          </a:xfrm>
        </p:spPr>
        <p:txBody>
          <a:bodyPr/>
          <a:lstStyle/>
          <a:p>
            <a:endParaRPr lang="pt-BR"/>
          </a:p>
        </p:txBody>
      </p:sp>
    </p:spTree>
  </p:cSld>
  <p:clrMapOvr>
    <a:masterClrMapping/>
  </p:clrMapOvr>
  <p:transition/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342900" y="914400"/>
            <a:ext cx="845820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206161" y="7331212"/>
            <a:ext cx="846534" cy="282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0022620" y="7207783"/>
            <a:ext cx="844770" cy="504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8570" y="7197195"/>
            <a:ext cx="1015841" cy="534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661239" y="7343546"/>
            <a:ext cx="1128713" cy="218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2865872" y="7355883"/>
            <a:ext cx="1366800" cy="213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703651" y="7377036"/>
            <a:ext cx="846534" cy="163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782812" y="7235990"/>
            <a:ext cx="809499" cy="440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7371905" y="7317089"/>
            <a:ext cx="989388" cy="27681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/>
          <p:nvPr userDrawn="1"/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52413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8" name="Espaço Reservado para Texto 16"/>
          <p:cNvSpPr>
            <a:spLocks noGrp="1"/>
          </p:cNvSpPr>
          <p:nvPr>
            <p:ph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10" name="Espaço Reservado para Número de Slide 4"/>
          <p:cNvSpPr txBox="1">
            <a:spLocks noGrp="1"/>
          </p:cNvSpPr>
          <p:nvPr userDrawn="1">
            <p:custDataLst>
              <p:tags r:id="rId1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pic>
        <p:nvPicPr>
          <p:cNvPr id="11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</p:spTree>
  </p:cSld>
  <p:clrMapOvr>
    <a:masterClrMapping/>
  </p:clrMapOvr>
  <p:transition/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447938" name="think-cell Slide" r:id="rId4" imgW="0" imgH="0" progId="">
              <p:embed/>
            </p:oleObj>
          </a:graphicData>
        </a:graphic>
      </p:graphicFrame>
      <p:pic>
        <p:nvPicPr>
          <p:cNvPr id="13" name="Picture 7" descr="logo"/>
          <p:cNvPicPr>
            <a:picLocks noChangeAspect="1" noChangeArrowheads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Straight Connector 8"/>
          <p:cNvCxnSpPr/>
          <p:nvPr userDrawn="1"/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ço Reservado para Texto 16"/>
          <p:cNvSpPr>
            <a:spLocks noGrp="1"/>
          </p:cNvSpPr>
          <p:nvPr>
            <p:ph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18" name="Espaço Reservado para Número de Slide 4"/>
          <p:cNvSpPr txBox="1">
            <a:spLocks noGrp="1"/>
          </p:cNvSpPr>
          <p:nvPr userDrawn="1">
            <p:custDataLst>
              <p:tags r:id="rId2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pic>
        <p:nvPicPr>
          <p:cNvPr id="19" name="Picture 7" descr="logo"/>
          <p:cNvPicPr>
            <a:picLocks noChangeAspect="1" noChangeArrowheads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568876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J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FETTIG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/ M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TODMAN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VISIT</a:t>
            </a:r>
          </a:p>
        </p:txBody>
      </p:sp>
    </p:spTree>
  </p:cSld>
  <p:clrMapOvr>
    <a:masterClrMapping/>
  </p:clrMapOvr>
  <p:transition/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342900" y="914400"/>
            <a:ext cx="845820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8" name="Espaço Reservado para Número de Slide 4"/>
          <p:cNvSpPr txBox="1">
            <a:spLocks noGrp="1"/>
          </p:cNvSpPr>
          <p:nvPr userDrawn="1">
            <p:custDataLst>
              <p:tags r:id="rId1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3568876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J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FETTIG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/ M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TODMAN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VISIT</a:t>
            </a:r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</p:spTree>
  </p:cSld>
  <p:clrMapOvr>
    <a:masterClrMapping/>
  </p:clrMapOvr>
  <p:transition/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087" y="297657"/>
            <a:ext cx="10156827" cy="483687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899264" y="8110518"/>
            <a:ext cx="3573081" cy="320894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32307" y="8110508"/>
            <a:ext cx="507921" cy="22568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05" indent="-342705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05" indent="-342705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449986" name="think-cell Slide" r:id="rId5" imgW="0" imgH="0" progId="">
              <p:embed/>
            </p:oleObj>
          </a:graphicData>
        </a:graphic>
      </p:graphicFrame>
      <p:cxnSp>
        <p:nvCxnSpPr>
          <p:cNvPr id="4" name="Straight Connector 8"/>
          <p:cNvCxnSpPr/>
          <p:nvPr>
            <p:custDataLst>
              <p:tags r:id="rId2"/>
            </p:custDataLst>
          </p:nvPr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ítulo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10" name="Retângulo 9"/>
          <p:cNvSpPr/>
          <p:nvPr userDrawn="1"/>
        </p:nvSpPr>
        <p:spPr bwMode="auto">
          <a:xfrm>
            <a:off x="323528" y="980728"/>
            <a:ext cx="6624736" cy="2592288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</p:spPr>
        <p:txBody>
          <a:bodyPr wrap="square" lIns="35981" tIns="35981" rIns="35981" bIns="35981" rtlCol="0" anchor="ctr">
            <a:noAutofit/>
          </a:bodyPr>
          <a:lstStyle/>
          <a:p>
            <a:pPr algn="ctr" defTabSz="913876"/>
            <a:endParaRPr lang="en-US" dirty="0" err="1">
              <a:solidFill>
                <a:srgbClr val="0C0C0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</p:spTree>
  </p:cSld>
  <p:clrMapOvr>
    <a:masterClrMapping/>
  </p:clrMapOvr>
  <p:transition/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423278" y="8036462"/>
            <a:ext cx="3666553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8467108" y="1692637"/>
            <a:ext cx="2398514" cy="2401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597" tIns="54799" rIns="109597" bIns="54799" anchor="ctr"/>
          <a:lstStyle/>
          <a:p>
            <a:pPr algn="ctr" defTabSz="112785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8606446" y="1838979"/>
            <a:ext cx="2121627" cy="1763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8606446" y="3157819"/>
            <a:ext cx="2121627" cy="3526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8464023" y="1985190"/>
            <a:ext cx="2403782" cy="992594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2100" cap="all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8464023" y="3293609"/>
            <a:ext cx="2403782" cy="657970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1800" cap="none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691922"/>
            <a:ext cx="7758687" cy="2402530"/>
          </a:xfrm>
          <a:prstGeom prst="rect">
            <a:avLst/>
          </a:prstGeom>
        </p:spPr>
        <p:txBody>
          <a:bodyPr lIns="109597" tIns="54799" rIns="109597" bIns="54799" anchor="ctr"/>
          <a:lstStyle>
            <a:lvl1pPr algn="r">
              <a:defRPr sz="33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941591" y="7073787"/>
            <a:ext cx="1781250" cy="611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299545" y="6915101"/>
            <a:ext cx="1567852" cy="929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357960" y="7038514"/>
            <a:ext cx="2066955" cy="6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6906310" y="5774343"/>
            <a:ext cx="1839450" cy="992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4853469" y="5786679"/>
            <a:ext cx="1555507" cy="97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257438" y="5864269"/>
            <a:ext cx="2255662" cy="80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423270" y="6943308"/>
            <a:ext cx="1581962" cy="862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4661236" y="7098458"/>
            <a:ext cx="1968193" cy="5501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5"/>
            <a:ext cx="10438960" cy="4511794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745764" y="7257154"/>
            <a:ext cx="950587" cy="516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334873" y="7350589"/>
            <a:ext cx="1181621" cy="3314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3276" y="7248335"/>
            <a:ext cx="1354455" cy="483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544837" y="7311800"/>
            <a:ext cx="1239820" cy="40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213314" y="7190151"/>
            <a:ext cx="1102259" cy="595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980545" y="7197204"/>
            <a:ext cx="934715" cy="585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6066830" y="7331194"/>
            <a:ext cx="1068750" cy="36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922089" y="7237747"/>
            <a:ext cx="940006" cy="55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206161" y="7331212"/>
            <a:ext cx="846534" cy="282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0022620" y="7207783"/>
            <a:ext cx="844770" cy="504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8570" y="7197195"/>
            <a:ext cx="1015841" cy="534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661239" y="7343546"/>
            <a:ext cx="1128713" cy="218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2865872" y="7355883"/>
            <a:ext cx="1366800" cy="213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703651" y="7377036"/>
            <a:ext cx="846534" cy="163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782812" y="7235990"/>
            <a:ext cx="809499" cy="440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7371905" y="7317089"/>
            <a:ext cx="989388" cy="27681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087" y="297657"/>
            <a:ext cx="10156827" cy="483687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899264" y="8110518"/>
            <a:ext cx="3573081" cy="320894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32307" y="8110508"/>
            <a:ext cx="507921" cy="22568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423274" y="8036462"/>
            <a:ext cx="3620699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2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2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9264263" y="89931"/>
            <a:ext cx="1832394" cy="934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10" y="282000"/>
            <a:ext cx="8793179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127949"/>
            <a:ext cx="7758687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8464026" y="1127949"/>
            <a:ext cx="2398140" cy="6767690"/>
          </a:xfrm>
          <a:prstGeom prst="rect">
            <a:avLst/>
          </a:prstGeom>
        </p:spPr>
        <p:txBody>
          <a:bodyPr lIns="109597" tIns="54799" rIns="109597" bIns="54799"/>
          <a:lstStyle>
            <a:lvl1pPr marL="0" indent="0">
              <a:defRPr sz="19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0431790" y="8036462"/>
            <a:ext cx="430321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595623" y="7410009"/>
            <a:ext cx="9819833" cy="603139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12779" tIns="56391" rIns="112779" bIns="56391" anchor="ctr"/>
          <a:lstStyle>
            <a:lvl1pPr marL="422919" indent="-422919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2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423201" y="311364"/>
            <a:ext cx="9310424" cy="955623"/>
          </a:xfrm>
          <a:prstGeom prst="rect">
            <a:avLst/>
          </a:prstGeom>
        </p:spPr>
        <p:txBody>
          <a:bodyPr lIns="112779" tIns="56391" rIns="112779" bIns="56391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367554" y="439332"/>
            <a:ext cx="12980303" cy="490970"/>
          </a:xfrm>
          <a:prstGeom prst="rect">
            <a:avLst/>
          </a:prstGeom>
        </p:spPr>
        <p:txBody>
          <a:bodyPr lIns="139163" tIns="69582" rIns="139163" bIns="69582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232140" y="1611189"/>
            <a:ext cx="12883579" cy="7710500"/>
          </a:xfrm>
          <a:prstGeom prst="rect">
            <a:avLst/>
          </a:prstGeom>
        </p:spPr>
        <p:txBody>
          <a:bodyPr lIns="139163" tIns="69582" rIns="139163" bIns="69582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540" y="367172"/>
            <a:ext cx="12535376" cy="596647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514946" y="10004656"/>
            <a:ext cx="4409833" cy="395835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2998777" y="10004642"/>
            <a:ext cx="626868" cy="278391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522397" y="9913297"/>
            <a:ext cx="4525194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10449961" y="2087938"/>
            <a:ext cx="2960203" cy="29622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229" tIns="67616" rIns="135229" bIns="67616" anchor="ctr"/>
          <a:lstStyle/>
          <a:p>
            <a:pPr algn="ctr" defTabSz="139162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10621920" y="2268465"/>
            <a:ext cx="2618474" cy="2175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10621920" y="3895297"/>
            <a:ext cx="2618474" cy="4349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10446151" y="2448810"/>
            <a:ext cx="2966705" cy="1224404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600" cap="all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10446151" y="4062798"/>
            <a:ext cx="2966705" cy="811632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200" cap="none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2087056"/>
            <a:ext cx="9575634" cy="2963615"/>
          </a:xfrm>
          <a:prstGeom prst="rect">
            <a:avLst/>
          </a:prstGeom>
        </p:spPr>
        <p:txBody>
          <a:bodyPr lIns="135229" tIns="67616" rIns="135229" bIns="67616" anchor="ctr"/>
          <a:lstStyle>
            <a:lvl1pPr algn="r">
              <a:defRPr sz="41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567193" y="8725792"/>
            <a:ext cx="2198388" cy="754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1477336" y="8530049"/>
            <a:ext cx="1935015" cy="1146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910151" y="8682294"/>
            <a:ext cx="2550999" cy="835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8523645" y="7122865"/>
            <a:ext cx="2270216" cy="1224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990074" y="7138096"/>
            <a:ext cx="1919779" cy="1202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786085" y="7233791"/>
            <a:ext cx="2783898" cy="996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522397" y="8564844"/>
            <a:ext cx="1952429" cy="10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5752811" y="8756240"/>
            <a:ext cx="2429109" cy="6785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7"/>
            <a:ext cx="12883579" cy="5565476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0793862" y="8951970"/>
            <a:ext cx="1173198" cy="637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052566" y="9067255"/>
            <a:ext cx="1458336" cy="40888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2395" y="8941107"/>
            <a:ext cx="1671644" cy="595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609151" y="9019393"/>
            <a:ext cx="1530164" cy="502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965814" y="8869335"/>
            <a:ext cx="1360389" cy="735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444358" y="8878034"/>
            <a:ext cx="1153609" cy="722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7487579" y="9043329"/>
            <a:ext cx="1319033" cy="454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2245674" y="8928060"/>
            <a:ext cx="1160139" cy="68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659532" y="9043334"/>
            <a:ext cx="1044777" cy="3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2369734" y="8891094"/>
            <a:ext cx="1042600" cy="622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8929" y="8878036"/>
            <a:ext cx="1253733" cy="659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752810" y="9058545"/>
            <a:ext cx="1393038" cy="269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537009" y="9073771"/>
            <a:ext cx="1686880" cy="2631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102617" y="9099865"/>
            <a:ext cx="1044777" cy="202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10839589" y="8925890"/>
            <a:ext cx="999069" cy="543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098281" y="9025929"/>
            <a:ext cx="1221085" cy="341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522390" y="9913297"/>
            <a:ext cx="4468602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4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4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1433795" y="110933"/>
            <a:ext cx="2261508" cy="1152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14" y="347864"/>
            <a:ext cx="10852386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1391373"/>
            <a:ext cx="9575634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10446155" y="1391373"/>
            <a:ext cx="2959742" cy="8348211"/>
          </a:xfrm>
          <a:prstGeom prst="rect">
            <a:avLst/>
          </a:prstGeom>
        </p:spPr>
        <p:txBody>
          <a:bodyPr lIns="135229" tIns="67616" rIns="135229" bIns="67616"/>
          <a:lstStyle>
            <a:lvl1pPr marL="0" indent="0">
              <a:defRPr sz="23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2874724" y="9913297"/>
            <a:ext cx="5310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735106" y="9140536"/>
            <a:ext cx="12119463" cy="743995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39154" tIns="69579" rIns="139154" bIns="69579" anchor="ctr"/>
          <a:lstStyle>
            <a:lvl1pPr marL="521830" indent="-52183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7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522307" y="384082"/>
            <a:ext cx="11490760" cy="1178799"/>
          </a:xfrm>
          <a:prstGeom prst="rect">
            <a:avLst/>
          </a:prstGeom>
        </p:spPr>
        <p:txBody>
          <a:bodyPr lIns="139154" tIns="69579" rIns="139154" bIns="69579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522397" y="9913297"/>
            <a:ext cx="4525194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10449961" y="2087938"/>
            <a:ext cx="2960203" cy="29622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229" tIns="67616" rIns="135229" bIns="67616" anchor="ctr"/>
          <a:lstStyle/>
          <a:p>
            <a:pPr algn="ctr" defTabSz="139162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10621920" y="2268465"/>
            <a:ext cx="2618474" cy="2175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10621920" y="3895297"/>
            <a:ext cx="2618474" cy="4349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10446151" y="2448810"/>
            <a:ext cx="2966705" cy="1224404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600" cap="all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10446151" y="4062798"/>
            <a:ext cx="2966705" cy="811632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200" cap="none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2087056"/>
            <a:ext cx="9575634" cy="2963615"/>
          </a:xfrm>
          <a:prstGeom prst="rect">
            <a:avLst/>
          </a:prstGeom>
        </p:spPr>
        <p:txBody>
          <a:bodyPr lIns="135229" tIns="67616" rIns="135229" bIns="67616" anchor="ctr"/>
          <a:lstStyle>
            <a:lvl1pPr algn="r">
              <a:defRPr sz="41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567193" y="8725792"/>
            <a:ext cx="2198388" cy="754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1477336" y="8530049"/>
            <a:ext cx="1935015" cy="1146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910151" y="8682294"/>
            <a:ext cx="2550999" cy="835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8523645" y="7122865"/>
            <a:ext cx="2270216" cy="1224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990074" y="7138096"/>
            <a:ext cx="1919779" cy="1202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786085" y="7233791"/>
            <a:ext cx="2783898" cy="996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522397" y="8564844"/>
            <a:ext cx="1952429" cy="10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5752811" y="8756240"/>
            <a:ext cx="2429109" cy="6785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7"/>
            <a:ext cx="12883579" cy="5565476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0793862" y="8951970"/>
            <a:ext cx="1173198" cy="637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052566" y="9067255"/>
            <a:ext cx="1458336" cy="40888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2395" y="8941107"/>
            <a:ext cx="1671644" cy="595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609151" y="9019393"/>
            <a:ext cx="1530164" cy="502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965814" y="8869335"/>
            <a:ext cx="1360389" cy="735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444358" y="8878034"/>
            <a:ext cx="1153609" cy="722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7487579" y="9043329"/>
            <a:ext cx="1319033" cy="454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2245674" y="8928060"/>
            <a:ext cx="1160139" cy="68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659532" y="9043334"/>
            <a:ext cx="1044777" cy="3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2369734" y="8891094"/>
            <a:ext cx="1042600" cy="622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8929" y="8878036"/>
            <a:ext cx="1253733" cy="659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752810" y="9058545"/>
            <a:ext cx="1393038" cy="269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537009" y="9073771"/>
            <a:ext cx="1686880" cy="2631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102617" y="9099865"/>
            <a:ext cx="1044777" cy="202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10839589" y="8925890"/>
            <a:ext cx="999069" cy="543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098281" y="9025929"/>
            <a:ext cx="1221085" cy="341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540" y="367172"/>
            <a:ext cx="12535376" cy="596647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514946" y="10004656"/>
            <a:ext cx="4409833" cy="395835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2998777" y="10004642"/>
            <a:ext cx="626868" cy="278391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423274" y="8036462"/>
            <a:ext cx="3620699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2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2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9264263" y="89931"/>
            <a:ext cx="1832394" cy="934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10" y="282000"/>
            <a:ext cx="8793179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127949"/>
            <a:ext cx="7758687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8464026" y="1127949"/>
            <a:ext cx="2398140" cy="6767690"/>
          </a:xfrm>
          <a:prstGeom prst="rect">
            <a:avLst/>
          </a:prstGeom>
        </p:spPr>
        <p:txBody>
          <a:bodyPr lIns="109597" tIns="54799" rIns="109597" bIns="54799"/>
          <a:lstStyle>
            <a:lvl1pPr marL="0" indent="0">
              <a:defRPr sz="19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0431790" y="8036462"/>
            <a:ext cx="430321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522390" y="9913297"/>
            <a:ext cx="4468602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4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4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1433795" y="110933"/>
            <a:ext cx="2261508" cy="1152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14" y="347864"/>
            <a:ext cx="10852386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1391373"/>
            <a:ext cx="9575634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10446155" y="1391373"/>
            <a:ext cx="2959742" cy="8348211"/>
          </a:xfrm>
          <a:prstGeom prst="rect">
            <a:avLst/>
          </a:prstGeom>
        </p:spPr>
        <p:txBody>
          <a:bodyPr lIns="135229" tIns="67616" rIns="135229" bIns="67616"/>
          <a:lstStyle>
            <a:lvl1pPr marL="0" indent="0">
              <a:defRPr sz="23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2874724" y="9913297"/>
            <a:ext cx="5310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367554" y="439336"/>
            <a:ext cx="12980303" cy="490970"/>
          </a:xfrm>
          <a:prstGeom prst="rect">
            <a:avLst/>
          </a:prstGeom>
        </p:spPr>
        <p:txBody>
          <a:bodyPr lIns="139148" tIns="69576" rIns="139148" bIns="69576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232140" y="1611189"/>
            <a:ext cx="12883579" cy="7710500"/>
          </a:xfrm>
          <a:prstGeom prst="rect">
            <a:avLst/>
          </a:prstGeom>
        </p:spPr>
        <p:txBody>
          <a:bodyPr lIns="139148" tIns="69576" rIns="139148" bIns="69576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735106" y="9140536"/>
            <a:ext cx="12119463" cy="743995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39154" tIns="69579" rIns="139154" bIns="69579" anchor="ctr"/>
          <a:lstStyle>
            <a:lvl1pPr marL="521830" indent="-52183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7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522307" y="384082"/>
            <a:ext cx="11490760" cy="1178799"/>
          </a:xfrm>
          <a:prstGeom prst="rect">
            <a:avLst/>
          </a:prstGeom>
        </p:spPr>
        <p:txBody>
          <a:bodyPr lIns="139154" tIns="69579" rIns="139154" bIns="69579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423278" y="8036462"/>
            <a:ext cx="3666553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8467108" y="1692637"/>
            <a:ext cx="2398514" cy="2401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597" tIns="54799" rIns="109597" bIns="54799" anchor="ctr"/>
          <a:lstStyle/>
          <a:p>
            <a:pPr algn="ctr" defTabSz="112785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8606446" y="1838979"/>
            <a:ext cx="2121627" cy="1763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8606446" y="3157819"/>
            <a:ext cx="2121627" cy="3526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8464023" y="1985190"/>
            <a:ext cx="2403782" cy="992594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2100" cap="all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8464023" y="3293609"/>
            <a:ext cx="2403782" cy="657970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1800" cap="none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691922"/>
            <a:ext cx="7758687" cy="2402530"/>
          </a:xfrm>
          <a:prstGeom prst="rect">
            <a:avLst/>
          </a:prstGeom>
        </p:spPr>
        <p:txBody>
          <a:bodyPr lIns="109597" tIns="54799" rIns="109597" bIns="54799" anchor="ctr"/>
          <a:lstStyle>
            <a:lvl1pPr algn="r">
              <a:defRPr sz="33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941591" y="7073787"/>
            <a:ext cx="1781250" cy="611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299545" y="6915101"/>
            <a:ext cx="1567852" cy="929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357960" y="7038514"/>
            <a:ext cx="2066955" cy="6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6906310" y="5774343"/>
            <a:ext cx="1839450" cy="992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4853469" y="5786679"/>
            <a:ext cx="1555507" cy="97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257438" y="5864269"/>
            <a:ext cx="2255662" cy="80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423270" y="6943308"/>
            <a:ext cx="1581962" cy="862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4661236" y="7098458"/>
            <a:ext cx="1968193" cy="5501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5"/>
            <a:ext cx="10438960" cy="4511794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745764" y="7257154"/>
            <a:ext cx="950587" cy="516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334873" y="7350589"/>
            <a:ext cx="1181621" cy="3314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3276" y="7248335"/>
            <a:ext cx="1354455" cy="483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544837" y="7311800"/>
            <a:ext cx="1239820" cy="40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213314" y="7190151"/>
            <a:ext cx="1102259" cy="595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980545" y="7197204"/>
            <a:ext cx="934715" cy="585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6066830" y="7331194"/>
            <a:ext cx="1068750" cy="36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922089" y="7237747"/>
            <a:ext cx="940006" cy="55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206161" y="7331212"/>
            <a:ext cx="846534" cy="282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0022620" y="7207783"/>
            <a:ext cx="844770" cy="504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8570" y="7197195"/>
            <a:ext cx="1015841" cy="534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661239" y="7343546"/>
            <a:ext cx="1128713" cy="218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2865872" y="7355883"/>
            <a:ext cx="1366800" cy="213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703651" y="7377036"/>
            <a:ext cx="846534" cy="163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782812" y="7235990"/>
            <a:ext cx="809499" cy="440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7371905" y="7317089"/>
            <a:ext cx="989388" cy="27681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087" y="297657"/>
            <a:ext cx="10156827" cy="483687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899264" y="8110518"/>
            <a:ext cx="3573081" cy="320894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32307" y="8110508"/>
            <a:ext cx="507921" cy="22568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297817" y="356162"/>
            <a:ext cx="10517331" cy="398017"/>
          </a:xfrm>
          <a:prstGeom prst="rect">
            <a:avLst/>
          </a:prstGeom>
        </p:spPr>
        <p:txBody>
          <a:bodyPr lIns="112772" tIns="56388" rIns="112772" bIns="56388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188090" y="1306154"/>
            <a:ext cx="10438960" cy="6250713"/>
          </a:xfrm>
          <a:prstGeom prst="rect">
            <a:avLst/>
          </a:prstGeom>
        </p:spPr>
        <p:txBody>
          <a:bodyPr lIns="112772" tIns="56388" rIns="112772" bIns="56388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423274" y="8036462"/>
            <a:ext cx="3620699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2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2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9264263" y="89931"/>
            <a:ext cx="1832394" cy="934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10" y="282000"/>
            <a:ext cx="8793179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127949"/>
            <a:ext cx="7758687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8464026" y="1127949"/>
            <a:ext cx="2398140" cy="6767690"/>
          </a:xfrm>
          <a:prstGeom prst="rect">
            <a:avLst/>
          </a:prstGeom>
        </p:spPr>
        <p:txBody>
          <a:bodyPr lIns="109597" tIns="54799" rIns="109597" bIns="54799"/>
          <a:lstStyle>
            <a:lvl1pPr marL="0" indent="0">
              <a:defRPr sz="19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0431790" y="8036462"/>
            <a:ext cx="430321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297817" y="356162"/>
            <a:ext cx="10517331" cy="398017"/>
          </a:xfrm>
          <a:prstGeom prst="rect">
            <a:avLst/>
          </a:prstGeom>
        </p:spPr>
        <p:txBody>
          <a:bodyPr lIns="112772" tIns="56388" rIns="112772" bIns="56388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188090" y="1306154"/>
            <a:ext cx="10438960" cy="6250713"/>
          </a:xfrm>
          <a:prstGeom prst="rect">
            <a:avLst/>
          </a:prstGeom>
        </p:spPr>
        <p:txBody>
          <a:bodyPr lIns="112772" tIns="56388" rIns="112772" bIns="56388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595623" y="7410009"/>
            <a:ext cx="9819833" cy="603139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12779" tIns="56391" rIns="112779" bIns="56391" anchor="ctr"/>
          <a:lstStyle>
            <a:lvl1pPr marL="422919" indent="-422919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2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423201" y="311364"/>
            <a:ext cx="9310424" cy="955623"/>
          </a:xfrm>
          <a:prstGeom prst="rect">
            <a:avLst/>
          </a:prstGeom>
        </p:spPr>
        <p:txBody>
          <a:bodyPr lIns="112779" tIns="56391" rIns="112779" bIns="56391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5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0" y="-7936"/>
            <a:ext cx="9144000" cy="6367463"/>
          </a:xfrm>
          <a:prstGeom prst="rect">
            <a:avLst/>
          </a:prstGeom>
          <a:solidFill>
            <a:srgbClr val="C6DE89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07" tIns="45705" rIns="91407" bIns="45705" anchor="ctr"/>
          <a:lstStyle/>
          <a:p>
            <a:pPr>
              <a:defRPr/>
            </a:pPr>
            <a:r>
              <a:rPr lang="en-US" dirty="0">
                <a:solidFill>
                  <a:srgbClr val="0C0C0C"/>
                </a:solidFill>
              </a:rPr>
              <a:t> 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6408738"/>
            <a:ext cx="9144000" cy="11112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0" y="1"/>
            <a:ext cx="9144000" cy="6367463"/>
          </a:xfrm>
          <a:prstGeom prst="rect">
            <a:avLst/>
          </a:prstGeom>
          <a:solidFill>
            <a:srgbClr val="F5643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07" tIns="45705" rIns="91407" bIns="45705" anchor="ctr"/>
          <a:lstStyle/>
          <a:p>
            <a:pPr>
              <a:defRPr/>
            </a:pPr>
            <a:r>
              <a:rPr lang="en-US" dirty="0">
                <a:solidFill>
                  <a:srgbClr val="0C0C0C"/>
                </a:solidFill>
              </a:rPr>
              <a:t> 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6408738"/>
            <a:ext cx="9144000" cy="11112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3"/>
          <p:cNvCxnSpPr/>
          <p:nvPr userDrawn="1"/>
        </p:nvCxnSpPr>
        <p:spPr>
          <a:xfrm>
            <a:off x="73152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11"/>
          <p:cNvCxnSpPr/>
          <p:nvPr userDrawn="1"/>
        </p:nvCxnSpPr>
        <p:spPr>
          <a:xfrm>
            <a:off x="0" y="6408738"/>
            <a:ext cx="1828800" cy="1587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9"/>
          <p:cNvCxnSpPr/>
          <p:nvPr userDrawn="1"/>
        </p:nvCxnSpPr>
        <p:spPr>
          <a:xfrm>
            <a:off x="18288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0"/>
          <p:cNvCxnSpPr/>
          <p:nvPr userDrawn="1"/>
        </p:nvCxnSpPr>
        <p:spPr>
          <a:xfrm>
            <a:off x="36576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21"/>
          <p:cNvCxnSpPr/>
          <p:nvPr userDrawn="1"/>
        </p:nvCxnSpPr>
        <p:spPr>
          <a:xfrm>
            <a:off x="54864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3"/>
          <p:cNvSpPr txBox="1">
            <a:spLocks/>
          </p:cNvSpPr>
          <p:nvPr userDrawn="1"/>
        </p:nvSpPr>
        <p:spPr>
          <a:xfrm>
            <a:off x="490538" y="6484938"/>
            <a:ext cx="519112" cy="304800"/>
          </a:xfrm>
          <a:prstGeom prst="rect">
            <a:avLst/>
          </a:prstGeom>
        </p:spPr>
        <p:txBody>
          <a:bodyPr anchor="ctr"/>
          <a:lstStyle/>
          <a:p>
            <a:pPr>
              <a:defRPr/>
            </a:pPr>
            <a:fld id="{9E594AB5-DE47-4585-9390-0E5F65008D80}" type="slidenum">
              <a:rPr lang="pt-BR" sz="1300">
                <a:solidFill>
                  <a:srgbClr val="666666"/>
                </a:solidFill>
                <a:latin typeface="Tahoma"/>
                <a:cs typeface="Tahoma"/>
              </a:rPr>
              <a:pPr>
                <a:defRPr/>
              </a:pPr>
              <a:t>‹nº›</a:t>
            </a:fld>
            <a:endParaRPr lang="pt-BR" sz="1300" dirty="0">
              <a:solidFill>
                <a:srgbClr val="666666"/>
              </a:solidFill>
              <a:latin typeface="Tahoma"/>
              <a:cs typeface="Tahoma"/>
            </a:endParaRPr>
          </a:p>
        </p:txBody>
      </p:sp>
    </p:spTree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3"/>
          <p:cNvCxnSpPr/>
          <p:nvPr userDrawn="1"/>
        </p:nvCxnSpPr>
        <p:spPr>
          <a:xfrm>
            <a:off x="73152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11"/>
          <p:cNvCxnSpPr/>
          <p:nvPr userDrawn="1"/>
        </p:nvCxnSpPr>
        <p:spPr>
          <a:xfrm>
            <a:off x="0" y="6408738"/>
            <a:ext cx="1828800" cy="1587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9"/>
          <p:cNvCxnSpPr/>
          <p:nvPr userDrawn="1"/>
        </p:nvCxnSpPr>
        <p:spPr>
          <a:xfrm>
            <a:off x="18288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0"/>
          <p:cNvCxnSpPr/>
          <p:nvPr userDrawn="1"/>
        </p:nvCxnSpPr>
        <p:spPr>
          <a:xfrm>
            <a:off x="36576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21"/>
          <p:cNvCxnSpPr/>
          <p:nvPr userDrawn="1"/>
        </p:nvCxnSpPr>
        <p:spPr>
          <a:xfrm>
            <a:off x="54864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3"/>
          <p:cNvSpPr txBox="1">
            <a:spLocks/>
          </p:cNvSpPr>
          <p:nvPr userDrawn="1"/>
        </p:nvSpPr>
        <p:spPr>
          <a:xfrm>
            <a:off x="490538" y="6484938"/>
            <a:ext cx="519112" cy="304800"/>
          </a:xfrm>
          <a:prstGeom prst="rect">
            <a:avLst/>
          </a:prstGeom>
        </p:spPr>
        <p:txBody>
          <a:bodyPr anchor="ctr"/>
          <a:lstStyle/>
          <a:p>
            <a:pPr>
              <a:defRPr/>
            </a:pPr>
            <a:fld id="{9E594AB5-DE47-4585-9390-0E5F65008D80}" type="slidenum">
              <a:rPr lang="pt-BR" sz="1300">
                <a:solidFill>
                  <a:srgbClr val="666666"/>
                </a:solidFill>
                <a:latin typeface="Tahoma"/>
                <a:cs typeface="Tahoma"/>
              </a:rPr>
              <a:pPr>
                <a:defRPr/>
              </a:pPr>
              <a:t>‹nº›</a:t>
            </a:fld>
            <a:endParaRPr lang="pt-BR" sz="1300" dirty="0">
              <a:solidFill>
                <a:srgbClr val="666666"/>
              </a:solidFill>
              <a:latin typeface="Tahoma"/>
              <a:cs typeface="Tahoma"/>
            </a:endParaRPr>
          </a:p>
        </p:txBody>
      </p:sp>
    </p:spTree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3"/>
          <p:cNvCxnSpPr/>
          <p:nvPr userDrawn="1"/>
        </p:nvCxnSpPr>
        <p:spPr>
          <a:xfrm>
            <a:off x="73152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11"/>
          <p:cNvCxnSpPr/>
          <p:nvPr userDrawn="1"/>
        </p:nvCxnSpPr>
        <p:spPr>
          <a:xfrm>
            <a:off x="0" y="6408738"/>
            <a:ext cx="1828800" cy="1587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9"/>
          <p:cNvCxnSpPr/>
          <p:nvPr userDrawn="1"/>
        </p:nvCxnSpPr>
        <p:spPr>
          <a:xfrm>
            <a:off x="18288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0"/>
          <p:cNvCxnSpPr/>
          <p:nvPr userDrawn="1"/>
        </p:nvCxnSpPr>
        <p:spPr>
          <a:xfrm>
            <a:off x="36576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21"/>
          <p:cNvCxnSpPr/>
          <p:nvPr userDrawn="1"/>
        </p:nvCxnSpPr>
        <p:spPr>
          <a:xfrm>
            <a:off x="54864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3"/>
          <p:cNvSpPr txBox="1">
            <a:spLocks/>
          </p:cNvSpPr>
          <p:nvPr userDrawn="1"/>
        </p:nvSpPr>
        <p:spPr>
          <a:xfrm>
            <a:off x="490538" y="6484938"/>
            <a:ext cx="519112" cy="304800"/>
          </a:xfrm>
          <a:prstGeom prst="rect">
            <a:avLst/>
          </a:prstGeom>
        </p:spPr>
        <p:txBody>
          <a:bodyPr anchor="ctr"/>
          <a:lstStyle/>
          <a:p>
            <a:pPr>
              <a:defRPr/>
            </a:pPr>
            <a:fld id="{9E594AB5-DE47-4585-9390-0E5F65008D80}" type="slidenum">
              <a:rPr lang="pt-BR" sz="1300">
                <a:solidFill>
                  <a:srgbClr val="666666"/>
                </a:solidFill>
                <a:latin typeface="Tahoma"/>
                <a:cs typeface="Tahoma"/>
              </a:rPr>
              <a:pPr>
                <a:defRPr/>
              </a:pPr>
              <a:t>‹nº›</a:t>
            </a:fld>
            <a:endParaRPr lang="pt-BR" sz="1300" dirty="0">
              <a:solidFill>
                <a:srgbClr val="666666"/>
              </a:solidFill>
              <a:latin typeface="Tahoma"/>
              <a:cs typeface="Tahoma"/>
            </a:endParaRPr>
          </a:p>
        </p:txBody>
      </p:sp>
    </p:spTree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156" y="6356431"/>
            <a:ext cx="2133987" cy="365460"/>
          </a:xfrm>
          <a:prstGeom prst="rect">
            <a:avLst/>
          </a:prstGeom>
        </p:spPr>
        <p:txBody>
          <a:bodyPr lIns="55385" tIns="27693" rIns="55385" bIns="27693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C0C0C"/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193" y="6356431"/>
            <a:ext cx="2895615" cy="365460"/>
          </a:xfrm>
          <a:prstGeom prst="rect">
            <a:avLst/>
          </a:prstGeom>
        </p:spPr>
        <p:txBody>
          <a:bodyPr lIns="55385" tIns="27693" rIns="55385" bIns="27693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C0C0C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2858" y="6356431"/>
            <a:ext cx="2133987" cy="365460"/>
          </a:xfrm>
          <a:prstGeom prst="rect">
            <a:avLst/>
          </a:prstGeom>
        </p:spPr>
        <p:txBody>
          <a:bodyPr lIns="55385" tIns="27693" rIns="55385" bIns="27693"/>
          <a:lstStyle>
            <a:lvl1pPr>
              <a:defRPr/>
            </a:lvl1pPr>
          </a:lstStyle>
          <a:p>
            <a:pPr>
              <a:defRPr/>
            </a:pPr>
            <a:fld id="{38ACABC1-41C6-4E27-9038-97FCD99DCCF1}" type="slidenum">
              <a:rPr lang="en-US">
                <a:solidFill>
                  <a:srgbClr val="0C0C0C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0C0C0C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595623" y="7410009"/>
            <a:ext cx="9819833" cy="603139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12779" tIns="56391" rIns="112779" bIns="56391" anchor="ctr"/>
          <a:lstStyle>
            <a:lvl1pPr marL="422919" indent="-422919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2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423201" y="311364"/>
            <a:ext cx="9310424" cy="955623"/>
          </a:xfrm>
          <a:prstGeom prst="rect">
            <a:avLst/>
          </a:prstGeom>
        </p:spPr>
        <p:txBody>
          <a:bodyPr lIns="112779" tIns="56391" rIns="112779" bIns="56391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Figura1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2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 r="391"/>
          <a:stretch>
            <a:fillRect/>
          </a:stretch>
        </p:blipFill>
        <p:spPr bwMode="auto">
          <a:xfrm>
            <a:off x="5441955" y="5176853"/>
            <a:ext cx="32385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422052"/>
            <a:ext cx="7543800" cy="774700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4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pic>
        <p:nvPicPr>
          <p:cNvPr id="4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 bwMode="auto">
          <a:xfrm>
            <a:off x="7284720" y="6419088"/>
            <a:ext cx="1859280" cy="43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11"/>
          <p:cNvCxnSpPr/>
          <p:nvPr userDrawn="1"/>
        </p:nvCxnSpPr>
        <p:spPr>
          <a:xfrm>
            <a:off x="-1" y="6408820"/>
            <a:ext cx="1828800" cy="1464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3"/>
          <p:cNvCxnSpPr/>
          <p:nvPr userDrawn="1"/>
        </p:nvCxnSpPr>
        <p:spPr>
          <a:xfrm>
            <a:off x="73151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9"/>
          <p:cNvCxnSpPr/>
          <p:nvPr userDrawn="1"/>
        </p:nvCxnSpPr>
        <p:spPr>
          <a:xfrm>
            <a:off x="18287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20"/>
          <p:cNvCxnSpPr/>
          <p:nvPr userDrawn="1"/>
        </p:nvCxnSpPr>
        <p:spPr>
          <a:xfrm>
            <a:off x="36575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1"/>
          <p:cNvCxnSpPr/>
          <p:nvPr userDrawn="1"/>
        </p:nvCxnSpPr>
        <p:spPr>
          <a:xfrm>
            <a:off x="54863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  <p:transition/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ítulo e 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8900" y="248532"/>
            <a:ext cx="8902700" cy="328458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Tabela 2"/>
          <p:cNvSpPr>
            <a:spLocks noGrp="1"/>
          </p:cNvSpPr>
          <p:nvPr>
            <p:ph type="tbl" idx="1"/>
          </p:nvPr>
        </p:nvSpPr>
        <p:spPr>
          <a:xfrm>
            <a:off x="152400" y="1058883"/>
            <a:ext cx="8826500" cy="5067300"/>
          </a:xfrm>
        </p:spPr>
        <p:txBody>
          <a:bodyPr/>
          <a:lstStyle/>
          <a:p>
            <a:endParaRPr lang="pt-BR"/>
          </a:p>
        </p:txBody>
      </p:sp>
    </p:spTree>
  </p:cSld>
  <p:clrMapOvr>
    <a:masterClrMapping/>
  </p:clrMapOvr>
  <p:transition/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342900" y="914400"/>
            <a:ext cx="845820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/>
          <p:nvPr userDrawn="1"/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52413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8" name="Espaço Reservado para Texto 16"/>
          <p:cNvSpPr>
            <a:spLocks noGrp="1"/>
          </p:cNvSpPr>
          <p:nvPr>
            <p:ph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10" name="Espaço Reservado para Número de Slide 4"/>
          <p:cNvSpPr txBox="1">
            <a:spLocks noGrp="1"/>
          </p:cNvSpPr>
          <p:nvPr userDrawn="1">
            <p:custDataLst>
              <p:tags r:id="rId1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pic>
        <p:nvPicPr>
          <p:cNvPr id="11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</p:spTree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5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451010" name="think-cell Slide" r:id="rId4" imgW="0" imgH="0" progId="">
              <p:embed/>
            </p:oleObj>
          </a:graphicData>
        </a:graphic>
      </p:graphicFrame>
      <p:pic>
        <p:nvPicPr>
          <p:cNvPr id="13" name="Picture 7" descr="logo"/>
          <p:cNvPicPr>
            <a:picLocks noChangeAspect="1" noChangeArrowheads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Straight Connector 8"/>
          <p:cNvCxnSpPr/>
          <p:nvPr userDrawn="1"/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ço Reservado para Texto 16"/>
          <p:cNvSpPr>
            <a:spLocks noGrp="1"/>
          </p:cNvSpPr>
          <p:nvPr>
            <p:ph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18" name="Espaço Reservado para Número de Slide 4"/>
          <p:cNvSpPr txBox="1">
            <a:spLocks noGrp="1"/>
          </p:cNvSpPr>
          <p:nvPr userDrawn="1">
            <p:custDataLst>
              <p:tags r:id="rId2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pic>
        <p:nvPicPr>
          <p:cNvPr id="19" name="Picture 7" descr="logo"/>
          <p:cNvPicPr>
            <a:picLocks noChangeAspect="1" noChangeArrowheads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568876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J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FETTIG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/ M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TODMAN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VISIT</a:t>
            </a:r>
          </a:p>
        </p:txBody>
      </p:sp>
    </p:spTree>
  </p:cSld>
  <p:clrMapOvr>
    <a:masterClrMapping/>
  </p:clrMapOvr>
  <p:transition/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342900" y="914400"/>
            <a:ext cx="845820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8" name="Espaço Reservado para Número de Slide 4"/>
          <p:cNvSpPr txBox="1">
            <a:spLocks noGrp="1"/>
          </p:cNvSpPr>
          <p:nvPr userDrawn="1">
            <p:custDataLst>
              <p:tags r:id="rId1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3568876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J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FETTIG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/ M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TODMAN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VISIT</a:t>
            </a:r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</p:spTree>
  </p:cSld>
  <p:clrMapOvr>
    <a:masterClrMapping/>
  </p:clrMapOvr>
  <p:transition/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05" indent="-342705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05" indent="-342705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0" y="-7936"/>
            <a:ext cx="9144000" cy="6367463"/>
          </a:xfrm>
          <a:prstGeom prst="rect">
            <a:avLst/>
          </a:prstGeom>
          <a:solidFill>
            <a:srgbClr val="C6DE89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07" tIns="45705" rIns="91407" bIns="45705" anchor="ctr"/>
          <a:lstStyle/>
          <a:p>
            <a:pPr>
              <a:defRPr/>
            </a:pPr>
            <a:r>
              <a:rPr lang="en-US" dirty="0">
                <a:solidFill>
                  <a:srgbClr val="0C0C0C"/>
                </a:solidFill>
              </a:rPr>
              <a:t> 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6408738"/>
            <a:ext cx="9144000" cy="11112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453058" name="think-cell Slide" r:id="rId5" imgW="0" imgH="0" progId="">
              <p:embed/>
            </p:oleObj>
          </a:graphicData>
        </a:graphic>
      </p:graphicFrame>
      <p:cxnSp>
        <p:nvCxnSpPr>
          <p:cNvPr id="4" name="Straight Connector 8"/>
          <p:cNvCxnSpPr/>
          <p:nvPr>
            <p:custDataLst>
              <p:tags r:id="rId2"/>
            </p:custDataLst>
          </p:nvPr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ítulo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10" name="Retângulo 9"/>
          <p:cNvSpPr/>
          <p:nvPr userDrawn="1"/>
        </p:nvSpPr>
        <p:spPr bwMode="auto">
          <a:xfrm>
            <a:off x="323528" y="980728"/>
            <a:ext cx="6624736" cy="2592288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</p:spPr>
        <p:txBody>
          <a:bodyPr wrap="square" lIns="35981" tIns="35981" rIns="35981" bIns="35981" rtlCol="0" anchor="ctr">
            <a:noAutofit/>
          </a:bodyPr>
          <a:lstStyle/>
          <a:p>
            <a:pPr algn="ctr" defTabSz="913876"/>
            <a:endParaRPr lang="en-US" dirty="0" err="1">
              <a:solidFill>
                <a:srgbClr val="0C0C0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</p:spTree>
  </p:cSld>
  <p:clrMapOvr>
    <a:masterClrMapping/>
  </p:clrMapOvr>
  <p:transition/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423278" y="8036462"/>
            <a:ext cx="3666553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8467108" y="1692637"/>
            <a:ext cx="2398514" cy="2401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597" tIns="54799" rIns="109597" bIns="54799" anchor="ctr"/>
          <a:lstStyle/>
          <a:p>
            <a:pPr algn="ctr" defTabSz="112785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8606446" y="1838979"/>
            <a:ext cx="2121627" cy="1763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8606446" y="3157819"/>
            <a:ext cx="2121627" cy="3526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8464023" y="1985190"/>
            <a:ext cx="2403782" cy="992594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2100" cap="all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8464023" y="3293609"/>
            <a:ext cx="2403782" cy="657970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1800" cap="none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691922"/>
            <a:ext cx="7758687" cy="2402530"/>
          </a:xfrm>
          <a:prstGeom prst="rect">
            <a:avLst/>
          </a:prstGeom>
        </p:spPr>
        <p:txBody>
          <a:bodyPr lIns="109597" tIns="54799" rIns="109597" bIns="54799" anchor="ctr"/>
          <a:lstStyle>
            <a:lvl1pPr algn="r">
              <a:defRPr sz="33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941591" y="7073787"/>
            <a:ext cx="1781250" cy="611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299545" y="6915101"/>
            <a:ext cx="1567852" cy="929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357960" y="7038514"/>
            <a:ext cx="2066955" cy="6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6906310" y="5774343"/>
            <a:ext cx="1839450" cy="992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4853469" y="5786679"/>
            <a:ext cx="1555507" cy="97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257438" y="5864269"/>
            <a:ext cx="2255662" cy="80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423270" y="6943308"/>
            <a:ext cx="1581962" cy="862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4661236" y="7098458"/>
            <a:ext cx="1968193" cy="5501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5"/>
            <a:ext cx="10438960" cy="4511794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745764" y="7257154"/>
            <a:ext cx="950587" cy="516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334873" y="7350589"/>
            <a:ext cx="1181621" cy="3314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3276" y="7248335"/>
            <a:ext cx="1354455" cy="483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544837" y="7311800"/>
            <a:ext cx="1239820" cy="40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213314" y="7190151"/>
            <a:ext cx="1102259" cy="595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980545" y="7197204"/>
            <a:ext cx="934715" cy="585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6066830" y="7331194"/>
            <a:ext cx="1068750" cy="36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922089" y="7237747"/>
            <a:ext cx="940006" cy="55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206161" y="7331212"/>
            <a:ext cx="846534" cy="282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0022620" y="7207783"/>
            <a:ext cx="844770" cy="504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8570" y="7197195"/>
            <a:ext cx="1015841" cy="534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661239" y="7343546"/>
            <a:ext cx="1128713" cy="218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2865872" y="7355883"/>
            <a:ext cx="1366800" cy="213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703651" y="7377036"/>
            <a:ext cx="846534" cy="163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782812" y="7235990"/>
            <a:ext cx="809499" cy="440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7371905" y="7317089"/>
            <a:ext cx="989388" cy="27681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087" y="297657"/>
            <a:ext cx="10156827" cy="483687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899264" y="8110518"/>
            <a:ext cx="3573081" cy="320894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32307" y="8110508"/>
            <a:ext cx="507921" cy="22568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423274" y="8036462"/>
            <a:ext cx="3620699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2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2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9264263" y="89931"/>
            <a:ext cx="1832394" cy="934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10" y="282000"/>
            <a:ext cx="8793179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127949"/>
            <a:ext cx="7758687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8464026" y="1127949"/>
            <a:ext cx="2398140" cy="6767690"/>
          </a:xfrm>
          <a:prstGeom prst="rect">
            <a:avLst/>
          </a:prstGeom>
        </p:spPr>
        <p:txBody>
          <a:bodyPr lIns="109597" tIns="54799" rIns="109597" bIns="54799"/>
          <a:lstStyle>
            <a:lvl1pPr marL="0" indent="0">
              <a:defRPr sz="19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0431790" y="8036462"/>
            <a:ext cx="430321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</p:spPr>
        <p:txBody>
          <a:bodyPr/>
          <a:lstStyle/>
          <a:p>
            <a:r>
              <a:rPr lang="pt-BR" dirty="0" smtClean="0"/>
              <a:t>Clique para editar o estilo d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en-US"/>
          </a:p>
        </p:txBody>
      </p:sp>
      <p:sp>
        <p:nvSpPr>
          <p:cNvPr id="4" name="Espaço Reservado para Rodapé 4"/>
          <p:cNvSpPr>
            <a:spLocks noGrp="1"/>
          </p:cNvSpPr>
          <p:nvPr userDrawn="1">
            <p:ph type="ftr" sz="quarter" idx="12"/>
          </p:nvPr>
        </p:nvSpPr>
        <p:spPr>
          <a:xfrm>
            <a:off x="2843808" y="6597352"/>
            <a:ext cx="3456384" cy="191096"/>
          </a:xfrm>
          <a:prstGeom prst="rect">
            <a:avLst/>
          </a:prstGeom>
        </p:spPr>
        <p:txBody>
          <a:bodyPr lIns="91407" tIns="45705" rIns="91407" bIns="45705"/>
          <a:lstStyle>
            <a:lvl1pPr algn="ctr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>
              <a:solidFill>
                <a:srgbClr val="0C0C0C">
                  <a:lumMod val="50000"/>
                  <a:lumOff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595623" y="7410009"/>
            <a:ext cx="9819833" cy="603139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12779" tIns="56391" rIns="112779" bIns="56391" anchor="ctr"/>
          <a:lstStyle>
            <a:lvl1pPr marL="422919" indent="-422919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2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423201" y="311364"/>
            <a:ext cx="9310424" cy="955623"/>
          </a:xfrm>
          <a:prstGeom prst="rect">
            <a:avLst/>
          </a:prstGeom>
        </p:spPr>
        <p:txBody>
          <a:bodyPr lIns="112779" tIns="56391" rIns="112779" bIns="56391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367554" y="439332"/>
            <a:ext cx="12980303" cy="490970"/>
          </a:xfrm>
          <a:prstGeom prst="rect">
            <a:avLst/>
          </a:prstGeom>
        </p:spPr>
        <p:txBody>
          <a:bodyPr lIns="139163" tIns="69582" rIns="139163" bIns="69582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232140" y="1611189"/>
            <a:ext cx="12883579" cy="7710500"/>
          </a:xfrm>
          <a:prstGeom prst="rect">
            <a:avLst/>
          </a:prstGeom>
        </p:spPr>
        <p:txBody>
          <a:bodyPr lIns="139163" tIns="69582" rIns="139163" bIns="69582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540" y="367172"/>
            <a:ext cx="12535376" cy="596647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514946" y="10004656"/>
            <a:ext cx="4409833" cy="395835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2998777" y="10004642"/>
            <a:ext cx="626868" cy="278391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522397" y="9913297"/>
            <a:ext cx="4525194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10449961" y="2087938"/>
            <a:ext cx="2960203" cy="29622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229" tIns="67616" rIns="135229" bIns="67616" anchor="ctr"/>
          <a:lstStyle/>
          <a:p>
            <a:pPr algn="ctr" defTabSz="139162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10621920" y="2268465"/>
            <a:ext cx="2618474" cy="2175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10621920" y="3895297"/>
            <a:ext cx="2618474" cy="4349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10446151" y="2448810"/>
            <a:ext cx="2966705" cy="1224404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600" cap="all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10446151" y="4062798"/>
            <a:ext cx="2966705" cy="811632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200" cap="none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2087056"/>
            <a:ext cx="9575634" cy="2963615"/>
          </a:xfrm>
          <a:prstGeom prst="rect">
            <a:avLst/>
          </a:prstGeom>
        </p:spPr>
        <p:txBody>
          <a:bodyPr lIns="135229" tIns="67616" rIns="135229" bIns="67616" anchor="ctr"/>
          <a:lstStyle>
            <a:lvl1pPr algn="r">
              <a:defRPr sz="41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567193" y="8725792"/>
            <a:ext cx="2198388" cy="754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1477336" y="8530049"/>
            <a:ext cx="1935015" cy="1146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910151" y="8682294"/>
            <a:ext cx="2550999" cy="835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8523645" y="7122865"/>
            <a:ext cx="2270216" cy="1224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990074" y="7138096"/>
            <a:ext cx="1919779" cy="1202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786085" y="7233791"/>
            <a:ext cx="2783898" cy="996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522397" y="8564844"/>
            <a:ext cx="1952429" cy="10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5752811" y="8756240"/>
            <a:ext cx="2429109" cy="6785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7"/>
            <a:ext cx="12883579" cy="5565476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0793862" y="8951970"/>
            <a:ext cx="1173198" cy="637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052566" y="9067255"/>
            <a:ext cx="1458336" cy="40888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2395" y="8941107"/>
            <a:ext cx="1671644" cy="595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609151" y="9019393"/>
            <a:ext cx="1530164" cy="502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965814" y="8869335"/>
            <a:ext cx="1360389" cy="735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444358" y="8878034"/>
            <a:ext cx="1153609" cy="722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7487579" y="9043329"/>
            <a:ext cx="1319033" cy="454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2245674" y="8928060"/>
            <a:ext cx="1160139" cy="68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659532" y="9043334"/>
            <a:ext cx="1044777" cy="3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2369734" y="8891094"/>
            <a:ext cx="1042600" cy="622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8929" y="8878036"/>
            <a:ext cx="1253733" cy="659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752810" y="9058545"/>
            <a:ext cx="1393038" cy="269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537009" y="9073771"/>
            <a:ext cx="1686880" cy="2631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102617" y="9099865"/>
            <a:ext cx="1044777" cy="202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10839589" y="8925890"/>
            <a:ext cx="999069" cy="543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098281" y="9025929"/>
            <a:ext cx="1221085" cy="341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522390" y="9913297"/>
            <a:ext cx="4468602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4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4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1433795" y="110933"/>
            <a:ext cx="2261508" cy="1152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14" y="347864"/>
            <a:ext cx="10852386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1391373"/>
            <a:ext cx="9575634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10446155" y="1391373"/>
            <a:ext cx="2959742" cy="8348211"/>
          </a:xfrm>
          <a:prstGeom prst="rect">
            <a:avLst/>
          </a:prstGeom>
        </p:spPr>
        <p:txBody>
          <a:bodyPr lIns="135229" tIns="67616" rIns="135229" bIns="67616"/>
          <a:lstStyle>
            <a:lvl1pPr marL="0" indent="0">
              <a:defRPr sz="23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2874724" y="9913297"/>
            <a:ext cx="5310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0" y="1"/>
            <a:ext cx="9144000" cy="6367463"/>
          </a:xfrm>
          <a:prstGeom prst="rect">
            <a:avLst/>
          </a:prstGeom>
          <a:solidFill>
            <a:srgbClr val="F5643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07" tIns="45705" rIns="91407" bIns="45705" anchor="ctr"/>
          <a:lstStyle/>
          <a:p>
            <a:pPr>
              <a:defRPr/>
            </a:pPr>
            <a:r>
              <a:rPr lang="en-US" dirty="0">
                <a:solidFill>
                  <a:srgbClr val="0C0C0C"/>
                </a:solidFill>
              </a:rPr>
              <a:t> 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6408738"/>
            <a:ext cx="9144000" cy="11112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735106" y="9140536"/>
            <a:ext cx="12119463" cy="743995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39154" tIns="69579" rIns="139154" bIns="69579" anchor="ctr"/>
          <a:lstStyle>
            <a:lvl1pPr marL="521830" indent="-52183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7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522307" y="384082"/>
            <a:ext cx="11490760" cy="1178799"/>
          </a:xfrm>
          <a:prstGeom prst="rect">
            <a:avLst/>
          </a:prstGeom>
        </p:spPr>
        <p:txBody>
          <a:bodyPr lIns="139154" tIns="69579" rIns="139154" bIns="69579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522397" y="9913297"/>
            <a:ext cx="4525194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10449961" y="2087938"/>
            <a:ext cx="2960203" cy="29622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229" tIns="67616" rIns="135229" bIns="67616" anchor="ctr"/>
          <a:lstStyle/>
          <a:p>
            <a:pPr algn="ctr" defTabSz="139162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10621920" y="2268465"/>
            <a:ext cx="2618474" cy="2175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10621920" y="3895297"/>
            <a:ext cx="2618474" cy="4349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10446151" y="2448810"/>
            <a:ext cx="2966705" cy="1224404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600" cap="all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10446151" y="4062798"/>
            <a:ext cx="2966705" cy="811632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200" cap="none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2087056"/>
            <a:ext cx="9575634" cy="2963615"/>
          </a:xfrm>
          <a:prstGeom prst="rect">
            <a:avLst/>
          </a:prstGeom>
        </p:spPr>
        <p:txBody>
          <a:bodyPr lIns="135229" tIns="67616" rIns="135229" bIns="67616" anchor="ctr"/>
          <a:lstStyle>
            <a:lvl1pPr algn="r">
              <a:defRPr sz="41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567193" y="8725792"/>
            <a:ext cx="2198388" cy="754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1477336" y="8530049"/>
            <a:ext cx="1935015" cy="1146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910151" y="8682294"/>
            <a:ext cx="2550999" cy="835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8523645" y="7122865"/>
            <a:ext cx="2270216" cy="1224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990074" y="7138096"/>
            <a:ext cx="1919779" cy="1202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786085" y="7233791"/>
            <a:ext cx="2783898" cy="996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522397" y="8564844"/>
            <a:ext cx="1952429" cy="10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5752811" y="8756240"/>
            <a:ext cx="2429109" cy="6785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7"/>
            <a:ext cx="12883579" cy="5565476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0793862" y="8951970"/>
            <a:ext cx="1173198" cy="637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052566" y="9067255"/>
            <a:ext cx="1458336" cy="40888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2395" y="8941107"/>
            <a:ext cx="1671644" cy="595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609151" y="9019393"/>
            <a:ext cx="1530164" cy="502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965814" y="8869335"/>
            <a:ext cx="1360389" cy="735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444358" y="8878034"/>
            <a:ext cx="1153609" cy="722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7487579" y="9043329"/>
            <a:ext cx="1319033" cy="454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2245674" y="8928060"/>
            <a:ext cx="1160139" cy="68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659532" y="9043334"/>
            <a:ext cx="1044777" cy="3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2369734" y="8891094"/>
            <a:ext cx="1042600" cy="622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8929" y="8878036"/>
            <a:ext cx="1253733" cy="659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752810" y="9058545"/>
            <a:ext cx="1393038" cy="269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537009" y="9073771"/>
            <a:ext cx="1686880" cy="2631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102617" y="9099865"/>
            <a:ext cx="1044777" cy="202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10839589" y="8925890"/>
            <a:ext cx="999069" cy="543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098281" y="9025929"/>
            <a:ext cx="1221085" cy="341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540" y="367172"/>
            <a:ext cx="12535376" cy="596647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514946" y="10004656"/>
            <a:ext cx="4409833" cy="395835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2998777" y="10004642"/>
            <a:ext cx="626868" cy="278391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522390" y="9913297"/>
            <a:ext cx="4468602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4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4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1433795" y="110933"/>
            <a:ext cx="2261508" cy="1152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14" y="347864"/>
            <a:ext cx="10852386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1391373"/>
            <a:ext cx="9575634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10446155" y="1391373"/>
            <a:ext cx="2959742" cy="8348211"/>
          </a:xfrm>
          <a:prstGeom prst="rect">
            <a:avLst/>
          </a:prstGeom>
        </p:spPr>
        <p:txBody>
          <a:bodyPr lIns="135229" tIns="67616" rIns="135229" bIns="67616"/>
          <a:lstStyle>
            <a:lvl1pPr marL="0" indent="0">
              <a:defRPr sz="23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2874724" y="9913297"/>
            <a:ext cx="5310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367554" y="439336"/>
            <a:ext cx="12980303" cy="490970"/>
          </a:xfrm>
          <a:prstGeom prst="rect">
            <a:avLst/>
          </a:prstGeom>
        </p:spPr>
        <p:txBody>
          <a:bodyPr lIns="139148" tIns="69576" rIns="139148" bIns="69576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232140" y="1611189"/>
            <a:ext cx="12883579" cy="7710500"/>
          </a:xfrm>
          <a:prstGeom prst="rect">
            <a:avLst/>
          </a:prstGeom>
        </p:spPr>
        <p:txBody>
          <a:bodyPr lIns="139148" tIns="69576" rIns="139148" bIns="69576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Figura1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2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 r="391"/>
          <a:stretch>
            <a:fillRect/>
          </a:stretch>
        </p:blipFill>
        <p:spPr bwMode="auto">
          <a:xfrm>
            <a:off x="5441955" y="5176853"/>
            <a:ext cx="32385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735106" y="9140536"/>
            <a:ext cx="12119463" cy="743995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39154" tIns="69579" rIns="139154" bIns="69579" anchor="ctr"/>
          <a:lstStyle>
            <a:lvl1pPr marL="521830" indent="-52183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7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522307" y="384082"/>
            <a:ext cx="11490760" cy="1178799"/>
          </a:xfrm>
          <a:prstGeom prst="rect">
            <a:avLst/>
          </a:prstGeom>
        </p:spPr>
        <p:txBody>
          <a:bodyPr lIns="139154" tIns="69579" rIns="139154" bIns="69579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423278" y="8036462"/>
            <a:ext cx="3666553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8467108" y="1692637"/>
            <a:ext cx="2398514" cy="2401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597" tIns="54799" rIns="109597" bIns="54799" anchor="ctr"/>
          <a:lstStyle/>
          <a:p>
            <a:pPr algn="ctr" defTabSz="112785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8606446" y="1838979"/>
            <a:ext cx="2121627" cy="1763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8606446" y="3157819"/>
            <a:ext cx="2121627" cy="3526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8464023" y="1985190"/>
            <a:ext cx="2403782" cy="992594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2100" cap="all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8464023" y="3293609"/>
            <a:ext cx="2403782" cy="657970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1800" cap="none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691922"/>
            <a:ext cx="7758687" cy="2402530"/>
          </a:xfrm>
          <a:prstGeom prst="rect">
            <a:avLst/>
          </a:prstGeom>
        </p:spPr>
        <p:txBody>
          <a:bodyPr lIns="109597" tIns="54799" rIns="109597" bIns="54799" anchor="ctr"/>
          <a:lstStyle>
            <a:lvl1pPr algn="r">
              <a:defRPr sz="33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941591" y="7073787"/>
            <a:ext cx="1781250" cy="611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299545" y="6915101"/>
            <a:ext cx="1567852" cy="929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357960" y="7038514"/>
            <a:ext cx="2066955" cy="6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6906310" y="5774343"/>
            <a:ext cx="1839450" cy="992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4853469" y="5786679"/>
            <a:ext cx="1555507" cy="97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257438" y="5864269"/>
            <a:ext cx="2255662" cy="80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423270" y="6943308"/>
            <a:ext cx="1581962" cy="862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4661236" y="7098458"/>
            <a:ext cx="1968193" cy="5501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5"/>
            <a:ext cx="10438960" cy="4511794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745764" y="7257154"/>
            <a:ext cx="950587" cy="516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334873" y="7350589"/>
            <a:ext cx="1181621" cy="3314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3276" y="7248335"/>
            <a:ext cx="1354455" cy="483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544837" y="7311800"/>
            <a:ext cx="1239820" cy="40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213314" y="7190151"/>
            <a:ext cx="1102259" cy="595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980545" y="7197204"/>
            <a:ext cx="934715" cy="585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6066830" y="7331194"/>
            <a:ext cx="1068750" cy="36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922089" y="7237747"/>
            <a:ext cx="940006" cy="55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206161" y="7331212"/>
            <a:ext cx="846534" cy="282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0022620" y="7207783"/>
            <a:ext cx="844770" cy="504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8570" y="7197195"/>
            <a:ext cx="1015841" cy="534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661239" y="7343546"/>
            <a:ext cx="1128713" cy="218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2865872" y="7355883"/>
            <a:ext cx="1366800" cy="213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703651" y="7377036"/>
            <a:ext cx="846534" cy="163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782812" y="7235990"/>
            <a:ext cx="809499" cy="440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7371905" y="7317089"/>
            <a:ext cx="989388" cy="27681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087" y="297657"/>
            <a:ext cx="10156827" cy="483687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899264" y="8110518"/>
            <a:ext cx="3573081" cy="320894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32307" y="8110508"/>
            <a:ext cx="507921" cy="22568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423274" y="8036462"/>
            <a:ext cx="3620699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2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2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9264263" y="89931"/>
            <a:ext cx="1832394" cy="934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10" y="282000"/>
            <a:ext cx="8793179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127949"/>
            <a:ext cx="7758687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8464026" y="1127949"/>
            <a:ext cx="2398140" cy="6767690"/>
          </a:xfrm>
          <a:prstGeom prst="rect">
            <a:avLst/>
          </a:prstGeom>
        </p:spPr>
        <p:txBody>
          <a:bodyPr lIns="109597" tIns="54799" rIns="109597" bIns="54799"/>
          <a:lstStyle>
            <a:lvl1pPr marL="0" indent="0">
              <a:defRPr sz="19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0431790" y="8036462"/>
            <a:ext cx="430321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297817" y="356162"/>
            <a:ext cx="10517331" cy="398017"/>
          </a:xfrm>
          <a:prstGeom prst="rect">
            <a:avLst/>
          </a:prstGeom>
        </p:spPr>
        <p:txBody>
          <a:bodyPr lIns="112772" tIns="56388" rIns="112772" bIns="56388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188090" y="1306154"/>
            <a:ext cx="10438960" cy="6250713"/>
          </a:xfrm>
          <a:prstGeom prst="rect">
            <a:avLst/>
          </a:prstGeom>
        </p:spPr>
        <p:txBody>
          <a:bodyPr lIns="112772" tIns="56388" rIns="112772" bIns="56388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595623" y="7410009"/>
            <a:ext cx="9819833" cy="603139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12779" tIns="56391" rIns="112779" bIns="56391" anchor="ctr"/>
          <a:lstStyle>
            <a:lvl1pPr marL="422919" indent="-422919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2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423201" y="311364"/>
            <a:ext cx="9310424" cy="955623"/>
          </a:xfrm>
          <a:prstGeom prst="rect">
            <a:avLst/>
          </a:prstGeom>
        </p:spPr>
        <p:txBody>
          <a:bodyPr lIns="112779" tIns="56391" rIns="112779" bIns="56391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5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0" y="-7936"/>
            <a:ext cx="9144000" cy="6367463"/>
          </a:xfrm>
          <a:prstGeom prst="rect">
            <a:avLst/>
          </a:prstGeom>
          <a:solidFill>
            <a:srgbClr val="C6DE89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07" tIns="45705" rIns="91407" bIns="45705" anchor="ctr"/>
          <a:lstStyle/>
          <a:p>
            <a:pPr>
              <a:defRPr/>
            </a:pPr>
            <a:r>
              <a:rPr lang="en-US" dirty="0">
                <a:solidFill>
                  <a:srgbClr val="0C0C0C"/>
                </a:solidFill>
              </a:rPr>
              <a:t> 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6408738"/>
            <a:ext cx="9144000" cy="11112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0" y="1"/>
            <a:ext cx="9144000" cy="6367463"/>
          </a:xfrm>
          <a:prstGeom prst="rect">
            <a:avLst/>
          </a:prstGeom>
          <a:solidFill>
            <a:srgbClr val="F5643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07" tIns="45705" rIns="91407" bIns="45705" anchor="ctr"/>
          <a:lstStyle/>
          <a:p>
            <a:pPr>
              <a:defRPr/>
            </a:pPr>
            <a:r>
              <a:rPr lang="en-US" dirty="0">
                <a:solidFill>
                  <a:srgbClr val="0C0C0C"/>
                </a:solidFill>
              </a:rPr>
              <a:t> 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6408738"/>
            <a:ext cx="9144000" cy="11112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3"/>
          <p:cNvCxnSpPr/>
          <p:nvPr userDrawn="1"/>
        </p:nvCxnSpPr>
        <p:spPr>
          <a:xfrm>
            <a:off x="73152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11"/>
          <p:cNvCxnSpPr/>
          <p:nvPr userDrawn="1"/>
        </p:nvCxnSpPr>
        <p:spPr>
          <a:xfrm>
            <a:off x="0" y="6408738"/>
            <a:ext cx="1828800" cy="1587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9"/>
          <p:cNvCxnSpPr/>
          <p:nvPr userDrawn="1"/>
        </p:nvCxnSpPr>
        <p:spPr>
          <a:xfrm>
            <a:off x="18288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0"/>
          <p:cNvCxnSpPr/>
          <p:nvPr userDrawn="1"/>
        </p:nvCxnSpPr>
        <p:spPr>
          <a:xfrm>
            <a:off x="36576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21"/>
          <p:cNvCxnSpPr/>
          <p:nvPr userDrawn="1"/>
        </p:nvCxnSpPr>
        <p:spPr>
          <a:xfrm>
            <a:off x="54864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3"/>
          <p:cNvSpPr txBox="1">
            <a:spLocks/>
          </p:cNvSpPr>
          <p:nvPr userDrawn="1"/>
        </p:nvSpPr>
        <p:spPr>
          <a:xfrm>
            <a:off x="490538" y="6484938"/>
            <a:ext cx="519112" cy="304800"/>
          </a:xfrm>
          <a:prstGeom prst="rect">
            <a:avLst/>
          </a:prstGeom>
        </p:spPr>
        <p:txBody>
          <a:bodyPr anchor="ctr"/>
          <a:lstStyle/>
          <a:p>
            <a:pPr>
              <a:defRPr/>
            </a:pPr>
            <a:fld id="{9E594AB5-DE47-4585-9390-0E5F65008D80}" type="slidenum">
              <a:rPr lang="pt-BR" sz="1300">
                <a:solidFill>
                  <a:srgbClr val="666666"/>
                </a:solidFill>
                <a:latin typeface="Tahoma"/>
                <a:cs typeface="Tahoma"/>
              </a:rPr>
              <a:pPr>
                <a:defRPr/>
              </a:pPr>
              <a:t>‹nº›</a:t>
            </a:fld>
            <a:endParaRPr lang="pt-BR" sz="1300" dirty="0">
              <a:solidFill>
                <a:srgbClr val="666666"/>
              </a:solidFill>
              <a:latin typeface="Tahoma"/>
              <a:cs typeface="Tahoma"/>
            </a:endParaRPr>
          </a:p>
        </p:txBody>
      </p:sp>
    </p:spTree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3"/>
          <p:cNvCxnSpPr/>
          <p:nvPr userDrawn="1"/>
        </p:nvCxnSpPr>
        <p:spPr>
          <a:xfrm>
            <a:off x="73152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11"/>
          <p:cNvCxnSpPr/>
          <p:nvPr userDrawn="1"/>
        </p:nvCxnSpPr>
        <p:spPr>
          <a:xfrm>
            <a:off x="0" y="6408738"/>
            <a:ext cx="1828800" cy="1587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9"/>
          <p:cNvCxnSpPr/>
          <p:nvPr userDrawn="1"/>
        </p:nvCxnSpPr>
        <p:spPr>
          <a:xfrm>
            <a:off x="18288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0"/>
          <p:cNvCxnSpPr/>
          <p:nvPr userDrawn="1"/>
        </p:nvCxnSpPr>
        <p:spPr>
          <a:xfrm>
            <a:off x="36576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21"/>
          <p:cNvCxnSpPr/>
          <p:nvPr userDrawn="1"/>
        </p:nvCxnSpPr>
        <p:spPr>
          <a:xfrm>
            <a:off x="54864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3"/>
          <p:cNvSpPr txBox="1">
            <a:spLocks/>
          </p:cNvSpPr>
          <p:nvPr userDrawn="1"/>
        </p:nvSpPr>
        <p:spPr>
          <a:xfrm>
            <a:off x="490538" y="6484938"/>
            <a:ext cx="519112" cy="304800"/>
          </a:xfrm>
          <a:prstGeom prst="rect">
            <a:avLst/>
          </a:prstGeom>
        </p:spPr>
        <p:txBody>
          <a:bodyPr anchor="ctr"/>
          <a:lstStyle/>
          <a:p>
            <a:pPr>
              <a:defRPr/>
            </a:pPr>
            <a:fld id="{9E594AB5-DE47-4585-9390-0E5F65008D80}" type="slidenum">
              <a:rPr lang="pt-BR" sz="1300">
                <a:solidFill>
                  <a:srgbClr val="666666"/>
                </a:solidFill>
                <a:latin typeface="Tahoma"/>
                <a:cs typeface="Tahoma"/>
              </a:rPr>
              <a:pPr>
                <a:defRPr/>
              </a:pPr>
              <a:t>‹nº›</a:t>
            </a:fld>
            <a:endParaRPr lang="pt-BR" sz="1300" dirty="0">
              <a:solidFill>
                <a:srgbClr val="666666"/>
              </a:solidFill>
              <a:latin typeface="Tahoma"/>
              <a:cs typeface="Tahoma"/>
            </a:endParaRPr>
          </a:p>
        </p:txBody>
      </p:sp>
    </p:spTree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3"/>
          <p:cNvCxnSpPr/>
          <p:nvPr userDrawn="1"/>
        </p:nvCxnSpPr>
        <p:spPr>
          <a:xfrm>
            <a:off x="73152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11"/>
          <p:cNvCxnSpPr/>
          <p:nvPr userDrawn="1"/>
        </p:nvCxnSpPr>
        <p:spPr>
          <a:xfrm>
            <a:off x="0" y="6408738"/>
            <a:ext cx="1828800" cy="1587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9"/>
          <p:cNvCxnSpPr/>
          <p:nvPr userDrawn="1"/>
        </p:nvCxnSpPr>
        <p:spPr>
          <a:xfrm>
            <a:off x="18288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0"/>
          <p:cNvCxnSpPr/>
          <p:nvPr userDrawn="1"/>
        </p:nvCxnSpPr>
        <p:spPr>
          <a:xfrm>
            <a:off x="36576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21"/>
          <p:cNvCxnSpPr/>
          <p:nvPr userDrawn="1"/>
        </p:nvCxnSpPr>
        <p:spPr>
          <a:xfrm>
            <a:off x="54864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3"/>
          <p:cNvSpPr txBox="1">
            <a:spLocks/>
          </p:cNvSpPr>
          <p:nvPr userDrawn="1"/>
        </p:nvSpPr>
        <p:spPr>
          <a:xfrm>
            <a:off x="490538" y="6484938"/>
            <a:ext cx="519112" cy="304800"/>
          </a:xfrm>
          <a:prstGeom prst="rect">
            <a:avLst/>
          </a:prstGeom>
        </p:spPr>
        <p:txBody>
          <a:bodyPr anchor="ctr"/>
          <a:lstStyle/>
          <a:p>
            <a:pPr>
              <a:defRPr/>
            </a:pPr>
            <a:fld id="{9E594AB5-DE47-4585-9390-0E5F65008D80}" type="slidenum">
              <a:rPr lang="pt-BR" sz="1300">
                <a:solidFill>
                  <a:srgbClr val="666666"/>
                </a:solidFill>
                <a:latin typeface="Tahoma"/>
                <a:cs typeface="Tahoma"/>
              </a:rPr>
              <a:pPr>
                <a:defRPr/>
              </a:pPr>
              <a:t>‹nº›</a:t>
            </a:fld>
            <a:endParaRPr lang="pt-BR" sz="1300" dirty="0">
              <a:solidFill>
                <a:srgbClr val="666666"/>
              </a:solidFill>
              <a:latin typeface="Tahoma"/>
              <a:cs typeface="Tahoma"/>
            </a:endParaRPr>
          </a:p>
        </p:txBody>
      </p:sp>
    </p:spTree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156" y="6356431"/>
            <a:ext cx="2133987" cy="365460"/>
          </a:xfrm>
          <a:prstGeom prst="rect">
            <a:avLst/>
          </a:prstGeom>
        </p:spPr>
        <p:txBody>
          <a:bodyPr lIns="55385" tIns="27693" rIns="55385" bIns="27693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C0C0C"/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193" y="6356431"/>
            <a:ext cx="2895615" cy="365460"/>
          </a:xfrm>
          <a:prstGeom prst="rect">
            <a:avLst/>
          </a:prstGeom>
        </p:spPr>
        <p:txBody>
          <a:bodyPr lIns="55385" tIns="27693" rIns="55385" bIns="27693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C0C0C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2858" y="6356431"/>
            <a:ext cx="2133987" cy="365460"/>
          </a:xfrm>
          <a:prstGeom prst="rect">
            <a:avLst/>
          </a:prstGeom>
        </p:spPr>
        <p:txBody>
          <a:bodyPr lIns="55385" tIns="27693" rIns="55385" bIns="27693"/>
          <a:lstStyle>
            <a:lvl1pPr>
              <a:defRPr/>
            </a:lvl1pPr>
          </a:lstStyle>
          <a:p>
            <a:pPr>
              <a:defRPr/>
            </a:pPr>
            <a:fld id="{38ACABC1-41C6-4E27-9038-97FCD99DCCF1}" type="slidenum">
              <a:rPr lang="en-US">
                <a:solidFill>
                  <a:srgbClr val="0C0C0C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0C0C0C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Figura1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2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 r="391"/>
          <a:stretch>
            <a:fillRect/>
          </a:stretch>
        </p:blipFill>
        <p:spPr bwMode="auto">
          <a:xfrm>
            <a:off x="5441955" y="5176853"/>
            <a:ext cx="32385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422052"/>
            <a:ext cx="7543800" cy="774700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4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pic>
        <p:nvPicPr>
          <p:cNvPr id="4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 bwMode="auto">
          <a:xfrm>
            <a:off x="7284720" y="6419088"/>
            <a:ext cx="1859280" cy="43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11"/>
          <p:cNvCxnSpPr/>
          <p:nvPr userDrawn="1"/>
        </p:nvCxnSpPr>
        <p:spPr>
          <a:xfrm>
            <a:off x="-1" y="6408820"/>
            <a:ext cx="1828800" cy="1464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3"/>
          <p:cNvCxnSpPr/>
          <p:nvPr userDrawn="1"/>
        </p:nvCxnSpPr>
        <p:spPr>
          <a:xfrm>
            <a:off x="73151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9"/>
          <p:cNvCxnSpPr/>
          <p:nvPr userDrawn="1"/>
        </p:nvCxnSpPr>
        <p:spPr>
          <a:xfrm>
            <a:off x="18287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20"/>
          <p:cNvCxnSpPr/>
          <p:nvPr userDrawn="1"/>
        </p:nvCxnSpPr>
        <p:spPr>
          <a:xfrm>
            <a:off x="36575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1"/>
          <p:cNvCxnSpPr/>
          <p:nvPr userDrawn="1"/>
        </p:nvCxnSpPr>
        <p:spPr>
          <a:xfrm>
            <a:off x="54863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  <p:transition/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422052"/>
            <a:ext cx="7543800" cy="774700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4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pic>
        <p:nvPicPr>
          <p:cNvPr id="4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 bwMode="auto">
          <a:xfrm>
            <a:off x="7284720" y="6419088"/>
            <a:ext cx="1859280" cy="43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11"/>
          <p:cNvCxnSpPr/>
          <p:nvPr userDrawn="1"/>
        </p:nvCxnSpPr>
        <p:spPr>
          <a:xfrm>
            <a:off x="-1" y="6408820"/>
            <a:ext cx="1828800" cy="1464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3"/>
          <p:cNvCxnSpPr/>
          <p:nvPr userDrawn="1"/>
        </p:nvCxnSpPr>
        <p:spPr>
          <a:xfrm>
            <a:off x="73151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9"/>
          <p:cNvCxnSpPr/>
          <p:nvPr userDrawn="1"/>
        </p:nvCxnSpPr>
        <p:spPr>
          <a:xfrm>
            <a:off x="18287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20"/>
          <p:cNvCxnSpPr/>
          <p:nvPr userDrawn="1"/>
        </p:nvCxnSpPr>
        <p:spPr>
          <a:xfrm>
            <a:off x="36575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1"/>
          <p:cNvCxnSpPr/>
          <p:nvPr userDrawn="1"/>
        </p:nvCxnSpPr>
        <p:spPr>
          <a:xfrm>
            <a:off x="5486399" y="6408820"/>
            <a:ext cx="1828800" cy="1464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  <p:transition/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ítulo e 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8900" y="248532"/>
            <a:ext cx="8902700" cy="328458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Tabela 2"/>
          <p:cNvSpPr>
            <a:spLocks noGrp="1"/>
          </p:cNvSpPr>
          <p:nvPr>
            <p:ph type="tbl" idx="1"/>
          </p:nvPr>
        </p:nvSpPr>
        <p:spPr>
          <a:xfrm>
            <a:off x="152400" y="1058883"/>
            <a:ext cx="8826500" cy="5067300"/>
          </a:xfrm>
        </p:spPr>
        <p:txBody>
          <a:bodyPr/>
          <a:lstStyle/>
          <a:p>
            <a:endParaRPr lang="pt-BR"/>
          </a:p>
        </p:txBody>
      </p:sp>
    </p:spTree>
  </p:cSld>
  <p:clrMapOvr>
    <a:masterClrMapping/>
  </p:clrMapOvr>
  <p:transition/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342900" y="914400"/>
            <a:ext cx="845820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/>
          <p:nvPr userDrawn="1"/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52413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8" name="Espaço Reservado para Texto 16"/>
          <p:cNvSpPr>
            <a:spLocks noGrp="1"/>
          </p:cNvSpPr>
          <p:nvPr>
            <p:ph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10" name="Espaço Reservado para Número de Slide 4"/>
          <p:cNvSpPr txBox="1">
            <a:spLocks noGrp="1"/>
          </p:cNvSpPr>
          <p:nvPr userDrawn="1">
            <p:custDataLst>
              <p:tags r:id="rId1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pic>
        <p:nvPicPr>
          <p:cNvPr id="11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</p:spTree>
  </p:cSld>
  <p:clrMapOvr>
    <a:masterClrMapping/>
  </p:clrMapOvr>
  <p:transition/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593346" name="think-cell Slide" r:id="rId4" imgW="0" imgH="0" progId="">
              <p:embed/>
            </p:oleObj>
          </a:graphicData>
        </a:graphic>
      </p:graphicFrame>
      <p:pic>
        <p:nvPicPr>
          <p:cNvPr id="13" name="Picture 7" descr="logo"/>
          <p:cNvPicPr>
            <a:picLocks noChangeAspect="1" noChangeArrowheads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Straight Connector 8"/>
          <p:cNvCxnSpPr/>
          <p:nvPr userDrawn="1"/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ço Reservado para Texto 16"/>
          <p:cNvSpPr>
            <a:spLocks noGrp="1"/>
          </p:cNvSpPr>
          <p:nvPr>
            <p:ph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18" name="Espaço Reservado para Número de Slide 4"/>
          <p:cNvSpPr txBox="1">
            <a:spLocks noGrp="1"/>
          </p:cNvSpPr>
          <p:nvPr userDrawn="1">
            <p:custDataLst>
              <p:tags r:id="rId2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pic>
        <p:nvPicPr>
          <p:cNvPr id="19" name="Picture 7" descr="logo"/>
          <p:cNvPicPr>
            <a:picLocks noChangeAspect="1" noChangeArrowheads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568876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J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FETTIG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/ M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TODMAN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VISIT</a:t>
            </a:r>
          </a:p>
        </p:txBody>
      </p:sp>
    </p:spTree>
  </p:cSld>
  <p:clrMapOvr>
    <a:masterClrMapping/>
  </p:clrMapOvr>
  <p:transition/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342900" y="914400"/>
            <a:ext cx="845820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8" name="Espaço Reservado para Número de Slide 4"/>
          <p:cNvSpPr txBox="1">
            <a:spLocks noGrp="1"/>
          </p:cNvSpPr>
          <p:nvPr userDrawn="1">
            <p:custDataLst>
              <p:tags r:id="rId1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3568876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J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FETTIG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/ M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TODMAN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VISIT</a:t>
            </a:r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</p:spTree>
  </p:cSld>
  <p:clrMapOvr>
    <a:masterClrMapping/>
  </p:clrMapOvr>
  <p:transition/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05" indent="-342705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05" indent="-342705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595394" name="think-cell Slide" r:id="rId5" imgW="0" imgH="0" progId="">
              <p:embed/>
            </p:oleObj>
          </a:graphicData>
        </a:graphic>
      </p:graphicFrame>
      <p:cxnSp>
        <p:nvCxnSpPr>
          <p:cNvPr id="4" name="Straight Connector 8"/>
          <p:cNvCxnSpPr/>
          <p:nvPr>
            <p:custDataLst>
              <p:tags r:id="rId2"/>
            </p:custDataLst>
          </p:nvPr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ítulo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10" name="Retângulo 9"/>
          <p:cNvSpPr/>
          <p:nvPr userDrawn="1"/>
        </p:nvSpPr>
        <p:spPr bwMode="auto">
          <a:xfrm>
            <a:off x="323528" y="980728"/>
            <a:ext cx="6624736" cy="2592288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</p:spPr>
        <p:txBody>
          <a:bodyPr wrap="square" lIns="35981" tIns="35981" rIns="35981" bIns="35981" rtlCol="0" anchor="ctr">
            <a:noAutofit/>
          </a:bodyPr>
          <a:lstStyle/>
          <a:p>
            <a:pPr algn="ctr" defTabSz="913876"/>
            <a:endParaRPr lang="en-US" dirty="0" err="1">
              <a:solidFill>
                <a:srgbClr val="0C0C0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</p:spTree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ítulo e 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8900" y="248532"/>
            <a:ext cx="8902700" cy="328458"/>
          </a:xfr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Tabela 2"/>
          <p:cNvSpPr>
            <a:spLocks noGrp="1"/>
          </p:cNvSpPr>
          <p:nvPr>
            <p:ph type="tbl" idx="1"/>
          </p:nvPr>
        </p:nvSpPr>
        <p:spPr>
          <a:xfrm>
            <a:off x="152400" y="1058883"/>
            <a:ext cx="8826500" cy="5067300"/>
          </a:xfrm>
        </p:spPr>
        <p:txBody>
          <a:bodyPr/>
          <a:lstStyle/>
          <a:p>
            <a:endParaRPr lang="pt-BR"/>
          </a:p>
        </p:txBody>
      </p:sp>
    </p:spTree>
  </p:cSld>
  <p:clrMapOvr>
    <a:masterClrMapping/>
  </p:clrMapOvr>
  <p:transition/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423278" y="8036462"/>
            <a:ext cx="3666553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8467108" y="1692637"/>
            <a:ext cx="2398514" cy="2401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597" tIns="54799" rIns="109597" bIns="54799" anchor="ctr"/>
          <a:lstStyle/>
          <a:p>
            <a:pPr algn="ctr" defTabSz="112785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8606446" y="1838979"/>
            <a:ext cx="2121627" cy="1763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8606446" y="3157819"/>
            <a:ext cx="2121627" cy="3526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8464023" y="1985190"/>
            <a:ext cx="2403782" cy="992594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2100" cap="all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8464023" y="3293609"/>
            <a:ext cx="2403782" cy="657970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1800" cap="none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691922"/>
            <a:ext cx="7758687" cy="2402530"/>
          </a:xfrm>
          <a:prstGeom prst="rect">
            <a:avLst/>
          </a:prstGeom>
        </p:spPr>
        <p:txBody>
          <a:bodyPr lIns="109597" tIns="54799" rIns="109597" bIns="54799" anchor="ctr"/>
          <a:lstStyle>
            <a:lvl1pPr algn="r">
              <a:defRPr sz="33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941591" y="7073787"/>
            <a:ext cx="1781250" cy="611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299545" y="6915101"/>
            <a:ext cx="1567852" cy="929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357960" y="7038514"/>
            <a:ext cx="2066955" cy="6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6906310" y="5774343"/>
            <a:ext cx="1839450" cy="992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4853469" y="5786679"/>
            <a:ext cx="1555507" cy="97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257438" y="5864269"/>
            <a:ext cx="2255662" cy="80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423270" y="6943308"/>
            <a:ext cx="1581962" cy="862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4661236" y="7098458"/>
            <a:ext cx="1968193" cy="5501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5"/>
            <a:ext cx="10438960" cy="4511794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745764" y="7257154"/>
            <a:ext cx="950587" cy="516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334873" y="7350589"/>
            <a:ext cx="1181621" cy="3314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3276" y="7248335"/>
            <a:ext cx="1354455" cy="483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544837" y="7311800"/>
            <a:ext cx="1239820" cy="40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213314" y="7190151"/>
            <a:ext cx="1102259" cy="595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980545" y="7197204"/>
            <a:ext cx="934715" cy="585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6066830" y="7331194"/>
            <a:ext cx="1068750" cy="36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922089" y="7237747"/>
            <a:ext cx="940006" cy="55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206161" y="7331212"/>
            <a:ext cx="846534" cy="282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0022620" y="7207783"/>
            <a:ext cx="844770" cy="504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8570" y="7197195"/>
            <a:ext cx="1015841" cy="534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661239" y="7343546"/>
            <a:ext cx="1128713" cy="218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2865872" y="7355883"/>
            <a:ext cx="1366800" cy="213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703651" y="7377036"/>
            <a:ext cx="846534" cy="163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782812" y="7235990"/>
            <a:ext cx="809499" cy="440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7371905" y="7317089"/>
            <a:ext cx="989388" cy="27681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087" y="297657"/>
            <a:ext cx="10156827" cy="483687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899264" y="8110518"/>
            <a:ext cx="3573081" cy="320894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32307" y="8110508"/>
            <a:ext cx="507921" cy="22568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423274" y="8036462"/>
            <a:ext cx="3620699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2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2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9264263" y="89931"/>
            <a:ext cx="1832394" cy="934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10" y="282000"/>
            <a:ext cx="8793179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127949"/>
            <a:ext cx="7758687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8464026" y="1127949"/>
            <a:ext cx="2398140" cy="6767690"/>
          </a:xfrm>
          <a:prstGeom prst="rect">
            <a:avLst/>
          </a:prstGeom>
        </p:spPr>
        <p:txBody>
          <a:bodyPr lIns="109597" tIns="54799" rIns="109597" bIns="54799"/>
          <a:lstStyle>
            <a:lvl1pPr marL="0" indent="0">
              <a:defRPr sz="19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0431790" y="8036462"/>
            <a:ext cx="430321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595623" y="7410009"/>
            <a:ext cx="9819833" cy="603139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12779" tIns="56391" rIns="112779" bIns="56391" anchor="ctr"/>
          <a:lstStyle>
            <a:lvl1pPr marL="422919" indent="-422919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2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423201" y="311364"/>
            <a:ext cx="9310424" cy="955623"/>
          </a:xfrm>
          <a:prstGeom prst="rect">
            <a:avLst/>
          </a:prstGeom>
        </p:spPr>
        <p:txBody>
          <a:bodyPr lIns="112779" tIns="56391" rIns="112779" bIns="56391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367554" y="439332"/>
            <a:ext cx="12980303" cy="490970"/>
          </a:xfrm>
          <a:prstGeom prst="rect">
            <a:avLst/>
          </a:prstGeom>
        </p:spPr>
        <p:txBody>
          <a:bodyPr lIns="139163" tIns="69582" rIns="139163" bIns="69582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232140" y="1611189"/>
            <a:ext cx="12883579" cy="7710500"/>
          </a:xfrm>
          <a:prstGeom prst="rect">
            <a:avLst/>
          </a:prstGeom>
        </p:spPr>
        <p:txBody>
          <a:bodyPr lIns="139163" tIns="69582" rIns="139163" bIns="69582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342900" y="914400"/>
            <a:ext cx="845820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540" y="367172"/>
            <a:ext cx="12535376" cy="596647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514946" y="10004656"/>
            <a:ext cx="4409833" cy="395835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2998777" y="10004642"/>
            <a:ext cx="626868" cy="278391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522397" y="9913297"/>
            <a:ext cx="4525194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10449961" y="2087938"/>
            <a:ext cx="2960203" cy="29622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229" tIns="67616" rIns="135229" bIns="67616" anchor="ctr"/>
          <a:lstStyle/>
          <a:p>
            <a:pPr algn="ctr" defTabSz="139162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10621920" y="2268465"/>
            <a:ext cx="2618474" cy="2175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10621920" y="3895297"/>
            <a:ext cx="2618474" cy="4349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10446151" y="2448810"/>
            <a:ext cx="2966705" cy="1224404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600" cap="all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10446151" y="4062798"/>
            <a:ext cx="2966705" cy="811632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200" cap="none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2087056"/>
            <a:ext cx="9575634" cy="2963615"/>
          </a:xfrm>
          <a:prstGeom prst="rect">
            <a:avLst/>
          </a:prstGeom>
        </p:spPr>
        <p:txBody>
          <a:bodyPr lIns="135229" tIns="67616" rIns="135229" bIns="67616" anchor="ctr"/>
          <a:lstStyle>
            <a:lvl1pPr algn="r">
              <a:defRPr sz="41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567193" y="8725792"/>
            <a:ext cx="2198388" cy="754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1477336" y="8530049"/>
            <a:ext cx="1935015" cy="1146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910151" y="8682294"/>
            <a:ext cx="2550999" cy="835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8523645" y="7122865"/>
            <a:ext cx="2270216" cy="1224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990074" y="7138096"/>
            <a:ext cx="1919779" cy="1202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786085" y="7233791"/>
            <a:ext cx="2783898" cy="996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522397" y="8564844"/>
            <a:ext cx="1952429" cy="10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5752811" y="8756240"/>
            <a:ext cx="2429109" cy="6785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7"/>
            <a:ext cx="12883579" cy="5565476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0793862" y="8951970"/>
            <a:ext cx="1173198" cy="637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052566" y="9067255"/>
            <a:ext cx="1458336" cy="40888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2395" y="8941107"/>
            <a:ext cx="1671644" cy="595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609151" y="9019393"/>
            <a:ext cx="1530164" cy="502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965814" y="8869335"/>
            <a:ext cx="1360389" cy="735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444358" y="8878034"/>
            <a:ext cx="1153609" cy="722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7487579" y="9043329"/>
            <a:ext cx="1319033" cy="454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2245674" y="8928060"/>
            <a:ext cx="1160139" cy="68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659532" y="9043334"/>
            <a:ext cx="1044777" cy="3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2369734" y="8891094"/>
            <a:ext cx="1042600" cy="622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8929" y="8878036"/>
            <a:ext cx="1253733" cy="659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752810" y="9058545"/>
            <a:ext cx="1393038" cy="269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537009" y="9073771"/>
            <a:ext cx="1686880" cy="2631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102617" y="9099865"/>
            <a:ext cx="1044777" cy="202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10839589" y="8925890"/>
            <a:ext cx="999069" cy="543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098281" y="9025929"/>
            <a:ext cx="1221085" cy="341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522390" y="9913297"/>
            <a:ext cx="4468602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4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4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1433795" y="110933"/>
            <a:ext cx="2261508" cy="1152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14" y="347864"/>
            <a:ext cx="10852386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1391373"/>
            <a:ext cx="9575634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10446155" y="1391373"/>
            <a:ext cx="2959742" cy="8348211"/>
          </a:xfrm>
          <a:prstGeom prst="rect">
            <a:avLst/>
          </a:prstGeom>
        </p:spPr>
        <p:txBody>
          <a:bodyPr lIns="135229" tIns="67616" rIns="135229" bIns="67616"/>
          <a:lstStyle>
            <a:lvl1pPr marL="0" indent="0">
              <a:defRPr sz="23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2874724" y="9913297"/>
            <a:ext cx="5310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735106" y="9140536"/>
            <a:ext cx="12119463" cy="743995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39154" tIns="69579" rIns="139154" bIns="69579" anchor="ctr"/>
          <a:lstStyle>
            <a:lvl1pPr marL="521830" indent="-52183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7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522307" y="384082"/>
            <a:ext cx="11490760" cy="1178799"/>
          </a:xfrm>
          <a:prstGeom prst="rect">
            <a:avLst/>
          </a:prstGeom>
        </p:spPr>
        <p:txBody>
          <a:bodyPr lIns="139154" tIns="69579" rIns="139154" bIns="69579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522397" y="9913297"/>
            <a:ext cx="4525194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10449961" y="2087938"/>
            <a:ext cx="2960203" cy="29622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229" tIns="67616" rIns="135229" bIns="67616" anchor="ctr"/>
          <a:lstStyle/>
          <a:p>
            <a:pPr algn="ctr" defTabSz="139162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10621920" y="2268465"/>
            <a:ext cx="2618474" cy="2175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10621920" y="3895297"/>
            <a:ext cx="2618474" cy="4349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10446151" y="2448810"/>
            <a:ext cx="2966705" cy="1224404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600" cap="all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10446151" y="4062798"/>
            <a:ext cx="2966705" cy="811632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200" cap="none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2087056"/>
            <a:ext cx="9575634" cy="2963615"/>
          </a:xfrm>
          <a:prstGeom prst="rect">
            <a:avLst/>
          </a:prstGeom>
        </p:spPr>
        <p:txBody>
          <a:bodyPr lIns="135229" tIns="67616" rIns="135229" bIns="67616" anchor="ctr"/>
          <a:lstStyle>
            <a:lvl1pPr algn="r">
              <a:defRPr sz="41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567193" y="8725792"/>
            <a:ext cx="2198388" cy="754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1477336" y="8530049"/>
            <a:ext cx="1935015" cy="1146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910151" y="8682294"/>
            <a:ext cx="2550999" cy="835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8523645" y="7122865"/>
            <a:ext cx="2270216" cy="1224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990074" y="7138096"/>
            <a:ext cx="1919779" cy="1202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786085" y="7233791"/>
            <a:ext cx="2783898" cy="996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522397" y="8564844"/>
            <a:ext cx="1952429" cy="10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5752811" y="8756240"/>
            <a:ext cx="2429109" cy="6785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7"/>
            <a:ext cx="12883579" cy="5565476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0793862" y="8951970"/>
            <a:ext cx="1173198" cy="637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052566" y="9067255"/>
            <a:ext cx="1458336" cy="40888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2395" y="8941107"/>
            <a:ext cx="1671644" cy="595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609151" y="9019393"/>
            <a:ext cx="1530164" cy="502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965814" y="8869335"/>
            <a:ext cx="1360389" cy="735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444358" y="8878034"/>
            <a:ext cx="1153609" cy="722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7487579" y="9043329"/>
            <a:ext cx="1319033" cy="454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12245674" y="8928060"/>
            <a:ext cx="1160139" cy="68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659532" y="9043334"/>
            <a:ext cx="1044777" cy="3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2369734" y="8891094"/>
            <a:ext cx="1042600" cy="622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8929" y="8878036"/>
            <a:ext cx="1253733" cy="659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752810" y="9058545"/>
            <a:ext cx="1393038" cy="269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537009" y="9073771"/>
            <a:ext cx="1686880" cy="2631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102617" y="9099865"/>
            <a:ext cx="1044777" cy="202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10839589" y="8925890"/>
            <a:ext cx="999069" cy="543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098281" y="9025929"/>
            <a:ext cx="1221085" cy="3414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7304685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540" y="367172"/>
            <a:ext cx="12535376" cy="596647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514946" y="10004656"/>
            <a:ext cx="4409833" cy="395835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2998777" y="10004642"/>
            <a:ext cx="626868" cy="278391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07" y="347864"/>
            <a:ext cx="11490760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3"/>
            <a:ext cx="12883579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830256" y="9029996"/>
            <a:ext cx="6267687" cy="709599"/>
          </a:xfrm>
          <a:prstGeom prst="rect">
            <a:avLst/>
          </a:prstGeom>
          <a:solidFill>
            <a:schemeClr val="accent6"/>
          </a:solidFill>
        </p:spPr>
        <p:txBody>
          <a:bodyPr lIns="135229" tIns="67616" rIns="135229" bIns="67616" anchor="ctr"/>
          <a:lstStyle>
            <a:lvl1pPr algn="ctr">
              <a:defRPr sz="2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5302252" y="9671876"/>
            <a:ext cx="3247517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9981984" y="9671876"/>
            <a:ext cx="3249695" cy="554604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522390" y="9913297"/>
            <a:ext cx="4468602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4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4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1433795" y="110933"/>
            <a:ext cx="2261508" cy="1152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14" y="347864"/>
            <a:ext cx="10852386" cy="529011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1391373"/>
            <a:ext cx="9575634" cy="8348211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10446155" y="1391373"/>
            <a:ext cx="2959742" cy="8348211"/>
          </a:xfrm>
          <a:prstGeom prst="rect">
            <a:avLst/>
          </a:prstGeom>
        </p:spPr>
        <p:txBody>
          <a:bodyPr lIns="135229" tIns="67616" rIns="135229" bIns="67616"/>
          <a:lstStyle>
            <a:lvl1pPr marL="0" indent="0">
              <a:defRPr sz="23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2874724" y="9913297"/>
            <a:ext cx="5310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367554" y="439336"/>
            <a:ext cx="12980303" cy="490970"/>
          </a:xfrm>
          <a:prstGeom prst="rect">
            <a:avLst/>
          </a:prstGeom>
        </p:spPr>
        <p:txBody>
          <a:bodyPr lIns="139148" tIns="69576" rIns="139148" bIns="69576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232140" y="1611189"/>
            <a:ext cx="12883579" cy="7710500"/>
          </a:xfrm>
          <a:prstGeom prst="rect">
            <a:avLst/>
          </a:prstGeom>
        </p:spPr>
        <p:txBody>
          <a:bodyPr lIns="139148" tIns="69576" rIns="139148" bIns="69576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735106" y="9140536"/>
            <a:ext cx="12119463" cy="743995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39154" tIns="69579" rIns="139154" bIns="69579" anchor="ctr"/>
          <a:lstStyle>
            <a:lvl1pPr marL="521830" indent="-521830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7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522307" y="384082"/>
            <a:ext cx="11490760" cy="1178799"/>
          </a:xfrm>
          <a:prstGeom prst="rect">
            <a:avLst/>
          </a:prstGeom>
        </p:spPr>
        <p:txBody>
          <a:bodyPr lIns="139154" tIns="69579" rIns="139154" bIns="69579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423278" y="8036462"/>
            <a:ext cx="3666553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8467108" y="1692637"/>
            <a:ext cx="2398514" cy="2401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597" tIns="54799" rIns="109597" bIns="54799" anchor="ctr"/>
          <a:lstStyle/>
          <a:p>
            <a:pPr algn="ctr" defTabSz="112785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8606446" y="1838979"/>
            <a:ext cx="2121627" cy="1763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8606446" y="3157819"/>
            <a:ext cx="2121627" cy="3526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8464023" y="1985190"/>
            <a:ext cx="2403782" cy="992594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2100" cap="all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8464023" y="3293609"/>
            <a:ext cx="2403782" cy="657970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1800" cap="none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691922"/>
            <a:ext cx="7758687" cy="2402530"/>
          </a:xfrm>
          <a:prstGeom prst="rect">
            <a:avLst/>
          </a:prstGeom>
        </p:spPr>
        <p:txBody>
          <a:bodyPr lIns="109597" tIns="54799" rIns="109597" bIns="54799" anchor="ctr"/>
          <a:lstStyle>
            <a:lvl1pPr algn="r">
              <a:defRPr sz="33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342900" y="914400"/>
            <a:ext cx="845820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941591" y="7073787"/>
            <a:ext cx="1781250" cy="611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299545" y="6915101"/>
            <a:ext cx="1567852" cy="929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357960" y="7038514"/>
            <a:ext cx="2066955" cy="6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6906310" y="5774343"/>
            <a:ext cx="1839450" cy="992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4853469" y="5786679"/>
            <a:ext cx="1555507" cy="97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257438" y="5864269"/>
            <a:ext cx="2255662" cy="80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423270" y="6943308"/>
            <a:ext cx="1581962" cy="862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4661236" y="7098458"/>
            <a:ext cx="1968193" cy="5501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5"/>
            <a:ext cx="10438960" cy="4511794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745764" y="7257154"/>
            <a:ext cx="950587" cy="516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334873" y="7350589"/>
            <a:ext cx="1181621" cy="3314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3276" y="7248335"/>
            <a:ext cx="1354455" cy="483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544837" y="7311800"/>
            <a:ext cx="1239820" cy="40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213314" y="7190151"/>
            <a:ext cx="1102259" cy="595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980545" y="7197204"/>
            <a:ext cx="934715" cy="585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6066830" y="7331194"/>
            <a:ext cx="1068750" cy="36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922089" y="7237747"/>
            <a:ext cx="940006" cy="55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206161" y="7331212"/>
            <a:ext cx="846534" cy="282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0022620" y="7207783"/>
            <a:ext cx="844770" cy="504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8570" y="7197195"/>
            <a:ext cx="1015841" cy="534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661239" y="7343546"/>
            <a:ext cx="1128713" cy="218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2865872" y="7355883"/>
            <a:ext cx="1366800" cy="213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703651" y="7377036"/>
            <a:ext cx="846534" cy="163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782812" y="7235990"/>
            <a:ext cx="809499" cy="440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7371905" y="7317089"/>
            <a:ext cx="989388" cy="27681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087" y="297657"/>
            <a:ext cx="10156827" cy="483687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899264" y="8110518"/>
            <a:ext cx="3573081" cy="320894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32307" y="8110508"/>
            <a:ext cx="507921" cy="22568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423274" y="8036462"/>
            <a:ext cx="3620699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2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2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9264263" y="89931"/>
            <a:ext cx="1832394" cy="934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10" y="282000"/>
            <a:ext cx="8793179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127949"/>
            <a:ext cx="7758687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8464026" y="1127949"/>
            <a:ext cx="2398140" cy="6767690"/>
          </a:xfrm>
          <a:prstGeom prst="rect">
            <a:avLst/>
          </a:prstGeom>
        </p:spPr>
        <p:txBody>
          <a:bodyPr lIns="109597" tIns="54799" rIns="109597" bIns="54799"/>
          <a:lstStyle>
            <a:lvl1pPr marL="0" indent="0">
              <a:defRPr sz="19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0431790" y="8036462"/>
            <a:ext cx="430321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297817" y="356162"/>
            <a:ext cx="10517331" cy="398017"/>
          </a:xfrm>
          <a:prstGeom prst="rect">
            <a:avLst/>
          </a:prstGeom>
        </p:spPr>
        <p:txBody>
          <a:bodyPr lIns="112772" tIns="56388" rIns="112772" bIns="56388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188090" y="1306154"/>
            <a:ext cx="10438960" cy="6250713"/>
          </a:xfrm>
          <a:prstGeom prst="rect">
            <a:avLst/>
          </a:prstGeom>
        </p:spPr>
        <p:txBody>
          <a:bodyPr lIns="112772" tIns="56388" rIns="112772" bIns="56388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595623" y="7410009"/>
            <a:ext cx="9819833" cy="603139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12779" tIns="56391" rIns="112779" bIns="56391" anchor="ctr"/>
          <a:lstStyle>
            <a:lvl1pPr marL="422919" indent="-422919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2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423201" y="311364"/>
            <a:ext cx="9310424" cy="955623"/>
          </a:xfrm>
          <a:prstGeom prst="rect">
            <a:avLst/>
          </a:prstGeom>
        </p:spPr>
        <p:txBody>
          <a:bodyPr lIns="112779" tIns="56391" rIns="112779" bIns="56391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5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0" y="-7936"/>
            <a:ext cx="9144000" cy="6367463"/>
          </a:xfrm>
          <a:prstGeom prst="rect">
            <a:avLst/>
          </a:prstGeom>
          <a:solidFill>
            <a:srgbClr val="C6DE89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07" tIns="45705" rIns="91407" bIns="45705" anchor="ctr"/>
          <a:lstStyle/>
          <a:p>
            <a:pPr>
              <a:defRPr/>
            </a:pPr>
            <a:r>
              <a:rPr lang="en-US" dirty="0">
                <a:solidFill>
                  <a:srgbClr val="0C0C0C"/>
                </a:solidFill>
              </a:rPr>
              <a:t> 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6408738"/>
            <a:ext cx="9144000" cy="11112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0" y="1"/>
            <a:ext cx="9144000" cy="6367463"/>
          </a:xfrm>
          <a:prstGeom prst="rect">
            <a:avLst/>
          </a:prstGeom>
          <a:solidFill>
            <a:srgbClr val="F5643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07" tIns="45705" rIns="91407" bIns="45705" anchor="ctr"/>
          <a:lstStyle/>
          <a:p>
            <a:pPr>
              <a:defRPr/>
            </a:pPr>
            <a:r>
              <a:rPr lang="en-US" dirty="0">
                <a:solidFill>
                  <a:srgbClr val="0C0C0C"/>
                </a:solidFill>
              </a:rPr>
              <a:t> </a:t>
            </a:r>
          </a:p>
        </p:txBody>
      </p:sp>
      <p:cxnSp>
        <p:nvCxnSpPr>
          <p:cNvPr id="5" name="Straight Connector 11"/>
          <p:cNvCxnSpPr/>
          <p:nvPr userDrawn="1"/>
        </p:nvCxnSpPr>
        <p:spPr>
          <a:xfrm>
            <a:off x="0" y="6408738"/>
            <a:ext cx="9144000" cy="11112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3"/>
          <p:cNvSpPr txBox="1">
            <a:spLocks/>
          </p:cNvSpPr>
          <p:nvPr userDrawn="1"/>
        </p:nvSpPr>
        <p:spPr bwMode="auto">
          <a:xfrm>
            <a:off x="5402264" y="6494463"/>
            <a:ext cx="2065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5" rIns="91407" bIns="45705" anchor="ctr"/>
          <a:lstStyle/>
          <a:p>
            <a:r>
              <a:rPr lang="pt-BR" sz="500" dirty="0">
                <a:solidFill>
                  <a:srgbClr val="666666"/>
                </a:solidFill>
                <a:latin typeface="Tahoma" pitchFamily="34" charset="0"/>
                <a:cs typeface="Tahoma" pitchFamily="34" charset="0"/>
              </a:rPr>
              <a:t>EMBRACO PROPRIETARY INFORMATION</a:t>
            </a:r>
          </a:p>
        </p:txBody>
      </p:sp>
    </p:spTree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3"/>
          <p:cNvCxnSpPr/>
          <p:nvPr userDrawn="1"/>
        </p:nvCxnSpPr>
        <p:spPr>
          <a:xfrm>
            <a:off x="73152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11"/>
          <p:cNvCxnSpPr/>
          <p:nvPr userDrawn="1"/>
        </p:nvCxnSpPr>
        <p:spPr>
          <a:xfrm>
            <a:off x="0" y="6408738"/>
            <a:ext cx="1828800" cy="1587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9"/>
          <p:cNvCxnSpPr/>
          <p:nvPr userDrawn="1"/>
        </p:nvCxnSpPr>
        <p:spPr>
          <a:xfrm>
            <a:off x="18288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0"/>
          <p:cNvCxnSpPr/>
          <p:nvPr userDrawn="1"/>
        </p:nvCxnSpPr>
        <p:spPr>
          <a:xfrm>
            <a:off x="36576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21"/>
          <p:cNvCxnSpPr/>
          <p:nvPr userDrawn="1"/>
        </p:nvCxnSpPr>
        <p:spPr>
          <a:xfrm>
            <a:off x="54864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3"/>
          <p:cNvSpPr txBox="1">
            <a:spLocks/>
          </p:cNvSpPr>
          <p:nvPr userDrawn="1"/>
        </p:nvSpPr>
        <p:spPr>
          <a:xfrm>
            <a:off x="490538" y="6484938"/>
            <a:ext cx="519112" cy="304800"/>
          </a:xfrm>
          <a:prstGeom prst="rect">
            <a:avLst/>
          </a:prstGeom>
        </p:spPr>
        <p:txBody>
          <a:bodyPr anchor="ctr"/>
          <a:lstStyle/>
          <a:p>
            <a:pPr>
              <a:defRPr/>
            </a:pPr>
            <a:fld id="{9E594AB5-DE47-4585-9390-0E5F65008D80}" type="slidenum">
              <a:rPr lang="pt-BR" sz="1300">
                <a:solidFill>
                  <a:srgbClr val="666666"/>
                </a:solidFill>
                <a:latin typeface="Tahoma"/>
                <a:cs typeface="Tahoma"/>
              </a:rPr>
              <a:pPr>
                <a:defRPr/>
              </a:pPr>
              <a:t>‹nº›</a:t>
            </a:fld>
            <a:endParaRPr lang="pt-BR" sz="1300" dirty="0">
              <a:solidFill>
                <a:srgbClr val="666666"/>
              </a:solidFill>
              <a:latin typeface="Tahoma"/>
              <a:cs typeface="Tahoma"/>
            </a:endParaRPr>
          </a:p>
        </p:txBody>
      </p:sp>
    </p:spTree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3"/>
          <p:cNvCxnSpPr/>
          <p:nvPr userDrawn="1"/>
        </p:nvCxnSpPr>
        <p:spPr>
          <a:xfrm>
            <a:off x="73152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11"/>
          <p:cNvCxnSpPr/>
          <p:nvPr userDrawn="1"/>
        </p:nvCxnSpPr>
        <p:spPr>
          <a:xfrm>
            <a:off x="0" y="6408738"/>
            <a:ext cx="1828800" cy="1587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9"/>
          <p:cNvCxnSpPr/>
          <p:nvPr userDrawn="1"/>
        </p:nvCxnSpPr>
        <p:spPr>
          <a:xfrm>
            <a:off x="18288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0"/>
          <p:cNvCxnSpPr/>
          <p:nvPr userDrawn="1"/>
        </p:nvCxnSpPr>
        <p:spPr>
          <a:xfrm>
            <a:off x="36576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21"/>
          <p:cNvCxnSpPr/>
          <p:nvPr userDrawn="1"/>
        </p:nvCxnSpPr>
        <p:spPr>
          <a:xfrm>
            <a:off x="54864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3"/>
          <p:cNvSpPr txBox="1">
            <a:spLocks/>
          </p:cNvSpPr>
          <p:nvPr userDrawn="1"/>
        </p:nvSpPr>
        <p:spPr>
          <a:xfrm>
            <a:off x="490538" y="6484938"/>
            <a:ext cx="519112" cy="304800"/>
          </a:xfrm>
          <a:prstGeom prst="rect">
            <a:avLst/>
          </a:prstGeom>
        </p:spPr>
        <p:txBody>
          <a:bodyPr anchor="ctr"/>
          <a:lstStyle/>
          <a:p>
            <a:pPr>
              <a:defRPr/>
            </a:pPr>
            <a:fld id="{9E594AB5-DE47-4585-9390-0E5F65008D80}" type="slidenum">
              <a:rPr lang="pt-BR" sz="1300">
                <a:solidFill>
                  <a:srgbClr val="666666"/>
                </a:solidFill>
                <a:latin typeface="Tahoma"/>
                <a:cs typeface="Tahoma"/>
              </a:rPr>
              <a:pPr>
                <a:defRPr/>
              </a:pPr>
              <a:t>‹nº›</a:t>
            </a:fld>
            <a:endParaRPr lang="pt-BR" sz="1300" dirty="0">
              <a:solidFill>
                <a:srgbClr val="666666"/>
              </a:solidFill>
              <a:latin typeface="Tahoma"/>
              <a:cs typeface="Tahoma"/>
            </a:endParaRPr>
          </a:p>
        </p:txBody>
      </p:sp>
    </p:spTree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8" descr="logo_rodap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85038" y="6419850"/>
            <a:ext cx="185896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Connector 23"/>
          <p:cNvCxnSpPr/>
          <p:nvPr userDrawn="1"/>
        </p:nvCxnSpPr>
        <p:spPr>
          <a:xfrm>
            <a:off x="73152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5643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11"/>
          <p:cNvCxnSpPr/>
          <p:nvPr userDrawn="1"/>
        </p:nvCxnSpPr>
        <p:spPr>
          <a:xfrm>
            <a:off x="0" y="6408738"/>
            <a:ext cx="1828800" cy="1587"/>
          </a:xfrm>
          <a:prstGeom prst="line">
            <a:avLst/>
          </a:prstGeom>
          <a:ln w="3175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9"/>
          <p:cNvCxnSpPr/>
          <p:nvPr userDrawn="1"/>
        </p:nvCxnSpPr>
        <p:spPr>
          <a:xfrm>
            <a:off x="18288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69B39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0"/>
          <p:cNvCxnSpPr/>
          <p:nvPr userDrawn="1"/>
        </p:nvCxnSpPr>
        <p:spPr>
          <a:xfrm>
            <a:off x="36576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C6DE89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21"/>
          <p:cNvCxnSpPr/>
          <p:nvPr userDrawn="1"/>
        </p:nvCxnSpPr>
        <p:spPr>
          <a:xfrm>
            <a:off x="5486400" y="6408738"/>
            <a:ext cx="1828800" cy="1587"/>
          </a:xfrm>
          <a:prstGeom prst="line">
            <a:avLst/>
          </a:prstGeom>
          <a:ln w="3175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3"/>
          <p:cNvSpPr txBox="1">
            <a:spLocks/>
          </p:cNvSpPr>
          <p:nvPr userDrawn="1"/>
        </p:nvSpPr>
        <p:spPr>
          <a:xfrm>
            <a:off x="490538" y="6484938"/>
            <a:ext cx="519112" cy="304800"/>
          </a:xfrm>
          <a:prstGeom prst="rect">
            <a:avLst/>
          </a:prstGeom>
        </p:spPr>
        <p:txBody>
          <a:bodyPr anchor="ctr"/>
          <a:lstStyle/>
          <a:p>
            <a:pPr>
              <a:defRPr/>
            </a:pPr>
            <a:fld id="{9E594AB5-DE47-4585-9390-0E5F65008D80}" type="slidenum">
              <a:rPr lang="pt-BR" sz="1300">
                <a:solidFill>
                  <a:srgbClr val="666666"/>
                </a:solidFill>
                <a:latin typeface="Tahoma"/>
                <a:cs typeface="Tahoma"/>
              </a:rPr>
              <a:pPr>
                <a:defRPr/>
              </a:pPr>
              <a:t>‹nº›</a:t>
            </a:fld>
            <a:endParaRPr lang="pt-BR" sz="1300" dirty="0">
              <a:solidFill>
                <a:srgbClr val="666666"/>
              </a:solidFill>
              <a:latin typeface="Tahoma"/>
              <a:cs typeface="Tahoma"/>
            </a:endParaRPr>
          </a:p>
        </p:txBody>
      </p:sp>
    </p:spTree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156" y="6356431"/>
            <a:ext cx="2133987" cy="365460"/>
          </a:xfrm>
          <a:prstGeom prst="rect">
            <a:avLst/>
          </a:prstGeom>
        </p:spPr>
        <p:txBody>
          <a:bodyPr lIns="55385" tIns="27693" rIns="55385" bIns="27693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C0C0C"/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193" y="6356431"/>
            <a:ext cx="2895615" cy="365460"/>
          </a:xfrm>
          <a:prstGeom prst="rect">
            <a:avLst/>
          </a:prstGeom>
        </p:spPr>
        <p:txBody>
          <a:bodyPr lIns="55385" tIns="27693" rIns="55385" bIns="27693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C0C0C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2858" y="6356431"/>
            <a:ext cx="2133987" cy="365460"/>
          </a:xfrm>
          <a:prstGeom prst="rect">
            <a:avLst/>
          </a:prstGeom>
        </p:spPr>
        <p:txBody>
          <a:bodyPr lIns="55385" tIns="27693" rIns="55385" bIns="27693"/>
          <a:lstStyle>
            <a:lvl1pPr>
              <a:defRPr/>
            </a:lvl1pPr>
          </a:lstStyle>
          <a:p>
            <a:pPr>
              <a:defRPr/>
            </a:pPr>
            <a:fld id="{38ACABC1-41C6-4E27-9038-97FCD99DCCF1}" type="slidenum">
              <a:rPr lang="en-US">
                <a:solidFill>
                  <a:srgbClr val="0C0C0C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0C0C0C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/>
          <p:nvPr userDrawn="1"/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52413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8" name="Espaço Reservado para Texto 16"/>
          <p:cNvSpPr>
            <a:spLocks noGrp="1"/>
          </p:cNvSpPr>
          <p:nvPr>
            <p:ph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10" name="Espaço Reservado para Número de Slide 4"/>
          <p:cNvSpPr txBox="1">
            <a:spLocks noGrp="1"/>
          </p:cNvSpPr>
          <p:nvPr userDrawn="1">
            <p:custDataLst>
              <p:tags r:id="rId1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pic>
        <p:nvPicPr>
          <p:cNvPr id="11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</p:spTree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1506" name="think-cell Slide" r:id="rId4" imgW="0" imgH="0" progId="">
              <p:embed/>
            </p:oleObj>
          </a:graphicData>
        </a:graphic>
      </p:graphicFrame>
      <p:pic>
        <p:nvPicPr>
          <p:cNvPr id="13" name="Picture 7" descr="logo"/>
          <p:cNvPicPr>
            <a:picLocks noChangeAspect="1" noChangeArrowheads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Straight Connector 8"/>
          <p:cNvCxnSpPr/>
          <p:nvPr userDrawn="1"/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ço Reservado para Texto 16"/>
          <p:cNvSpPr>
            <a:spLocks noGrp="1"/>
          </p:cNvSpPr>
          <p:nvPr>
            <p:ph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18" name="Espaço Reservado para Número de Slide 4"/>
          <p:cNvSpPr txBox="1">
            <a:spLocks noGrp="1"/>
          </p:cNvSpPr>
          <p:nvPr userDrawn="1">
            <p:custDataLst>
              <p:tags r:id="rId2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pic>
        <p:nvPicPr>
          <p:cNvPr id="19" name="Picture 7" descr="logo"/>
          <p:cNvPicPr>
            <a:picLocks noChangeAspect="1" noChangeArrowheads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568876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J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FETTIG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/ M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TODMAN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VISIT</a:t>
            </a:r>
          </a:p>
        </p:txBody>
      </p:sp>
    </p:spTree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342900" y="914400"/>
            <a:ext cx="8458200" cy="5486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8" name="Espaço Reservado para Número de Slide 4"/>
          <p:cNvSpPr txBox="1">
            <a:spLocks noGrp="1"/>
          </p:cNvSpPr>
          <p:nvPr userDrawn="1">
            <p:custDataLst>
              <p:tags r:id="rId1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3568876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J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FETTIG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/ M. </a:t>
            </a:r>
            <a:r>
              <a:rPr lang="en-US" sz="1000" dirty="0" err="1">
                <a:solidFill>
                  <a:srgbClr val="808080"/>
                </a:solidFill>
                <a:cs typeface="Arial" pitchFamily="34" charset="0"/>
              </a:rPr>
              <a:t>TODMAN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 VISIT</a:t>
            </a:r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</p:spTree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05" indent="-342705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05" indent="-342705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28600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/>
            </a:lvl1pPr>
          </a:lstStyle>
          <a:p>
            <a:pPr lvl="0"/>
            <a:r>
              <a:rPr lang="en-US" altLang="zh-CN" dirty="0" smtClean="0"/>
              <a:t>CLICK TO EDIT MASTER TITLE STYLE</a:t>
            </a:r>
          </a:p>
        </p:txBody>
      </p:sp>
    </p:spTree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3554" name="think-cell Slide" r:id="rId5" imgW="0" imgH="0" progId="">
              <p:embed/>
            </p:oleObj>
          </a:graphicData>
        </a:graphic>
      </p:graphicFrame>
      <p:cxnSp>
        <p:nvCxnSpPr>
          <p:cNvPr id="4" name="Straight Connector 8"/>
          <p:cNvCxnSpPr/>
          <p:nvPr>
            <p:custDataLst>
              <p:tags r:id="rId2"/>
            </p:custDataLst>
          </p:nvPr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ítulo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10" name="Retângulo 9"/>
          <p:cNvSpPr/>
          <p:nvPr userDrawn="1"/>
        </p:nvSpPr>
        <p:spPr bwMode="auto">
          <a:xfrm>
            <a:off x="323528" y="980728"/>
            <a:ext cx="6624736" cy="2592288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</p:spPr>
        <p:txBody>
          <a:bodyPr wrap="square" lIns="35981" tIns="35981" rIns="35981" bIns="35981" rtlCol="0" anchor="ctr">
            <a:noAutofit/>
          </a:bodyPr>
          <a:lstStyle/>
          <a:p>
            <a:pPr algn="ctr" defTabSz="913876"/>
            <a:endParaRPr lang="en-US" dirty="0" err="1">
              <a:solidFill>
                <a:srgbClr val="0C0C0C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2900" y="252413"/>
            <a:ext cx="7543800" cy="7747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71474" y="1157288"/>
            <a:ext cx="8458200" cy="476091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  <p:sp>
        <p:nvSpPr>
          <p:cNvPr id="12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349250" y="6007100"/>
            <a:ext cx="8489950" cy="488950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>
            <a:lvl1pPr marL="342741" indent="-342741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18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</p:spTree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423278" y="8036462"/>
            <a:ext cx="3666553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8467108" y="1692637"/>
            <a:ext cx="2398514" cy="2401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597" tIns="54799" rIns="109597" bIns="54799" anchor="ctr"/>
          <a:lstStyle/>
          <a:p>
            <a:pPr algn="ctr" defTabSz="112785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8606446" y="1838979"/>
            <a:ext cx="2121627" cy="1763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8606446" y="3157819"/>
            <a:ext cx="2121627" cy="3526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8464023" y="1985190"/>
            <a:ext cx="2403782" cy="992594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2100" cap="all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8464023" y="3293609"/>
            <a:ext cx="2403782" cy="657970"/>
          </a:xfrm>
          <a:prstGeom prst="rect">
            <a:avLst/>
          </a:prstGeom>
        </p:spPr>
        <p:txBody>
          <a:bodyPr lIns="142476" tIns="54799" rIns="142476" bIns="54799" anchor="ctr"/>
          <a:lstStyle>
            <a:lvl1pPr marL="0" indent="0" algn="l">
              <a:buNone/>
              <a:defRPr sz="1800" cap="none" baseline="0">
                <a:solidFill>
                  <a:schemeClr val="bg1"/>
                </a:solidFill>
              </a:defRPr>
            </a:lvl1pPr>
            <a:lvl2pPr marL="5479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959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439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1919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73992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2879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38358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3838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691922"/>
            <a:ext cx="7758687" cy="2402530"/>
          </a:xfrm>
          <a:prstGeom prst="rect">
            <a:avLst/>
          </a:prstGeom>
        </p:spPr>
        <p:txBody>
          <a:bodyPr lIns="109597" tIns="54799" rIns="109597" bIns="54799" anchor="ctr"/>
          <a:lstStyle>
            <a:lvl1pPr algn="r">
              <a:defRPr sz="33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941591" y="7073787"/>
            <a:ext cx="1781250" cy="611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299545" y="6915101"/>
            <a:ext cx="1567852" cy="929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357960" y="7038514"/>
            <a:ext cx="2066955" cy="677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6906310" y="5774343"/>
            <a:ext cx="1839450" cy="992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4853469" y="5786679"/>
            <a:ext cx="1555507" cy="97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257438" y="5864269"/>
            <a:ext cx="2255662" cy="80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423270" y="6943308"/>
            <a:ext cx="1581962" cy="862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4661236" y="7098458"/>
            <a:ext cx="1968193" cy="5501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5"/>
            <a:ext cx="10438960" cy="4511794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Small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_BTP_peq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745764" y="7257154"/>
            <a:ext cx="950587" cy="516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334873" y="7350589"/>
            <a:ext cx="1181621" cy="3314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" name="Picture 12" descr="WPGS WP_Colo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3276" y="7248335"/>
            <a:ext cx="1354455" cy="483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enn-Air_Badge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544837" y="7311800"/>
            <a:ext cx="1239820" cy="40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Badge_blk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3213314" y="7190151"/>
            <a:ext cx="1102259" cy="595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Shield_Medium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980545" y="7197204"/>
            <a:ext cx="934715" cy="585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6" descr="WPGS Amanabadge.jpg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6066830" y="7331194"/>
            <a:ext cx="1068750" cy="36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 descr="WPGS Consul_Color.jpg"/>
          <p:cNvPicPr>
            <a:picLocks noChangeAspect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922089" y="7237747"/>
            <a:ext cx="940006" cy="557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7B5667A4-3CAF-4C6B-8551-2A4DF446036B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8"/>
          <p:cNvCxnSpPr/>
          <p:nvPr userDrawn="1"/>
        </p:nvCxnSpPr>
        <p:spPr>
          <a:xfrm>
            <a:off x="342900" y="227016"/>
            <a:ext cx="7543800" cy="1587"/>
          </a:xfrm>
          <a:prstGeom prst="line">
            <a:avLst/>
          </a:prstGeom>
          <a:ln w="63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252413"/>
            <a:ext cx="75438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8" name="Espaço Reservado para Texto 16"/>
          <p:cNvSpPr>
            <a:spLocks noGrp="1"/>
          </p:cNvSpPr>
          <p:nvPr>
            <p:ph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342900" y="6515100"/>
            <a:ext cx="2971800" cy="228600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EMBRACO 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  <a:sym typeface="Wingdings" pitchFamily="2" charset="2"/>
              </a:rPr>
              <a:t>  CONFIDENTIAL</a:t>
            </a:r>
            <a:endParaRPr lang="en-US" sz="10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10" name="Espaço Reservado para Número de Slide 4"/>
          <p:cNvSpPr txBox="1">
            <a:spLocks noGrp="1"/>
          </p:cNvSpPr>
          <p:nvPr userDrawn="1">
            <p:custDataLst>
              <p:tags r:id="rId1"/>
            </p:custDataLst>
          </p:nvPr>
        </p:nvSpPr>
        <p:spPr>
          <a:xfrm>
            <a:off x="8736018" y="6584952"/>
            <a:ext cx="347662" cy="22860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08080"/>
                </a:solidFill>
                <a:cs typeface="Arial" charset="0"/>
                <a:sym typeface="Wingdings" pitchFamily="2" charset="2"/>
              </a:rPr>
              <a:t> </a:t>
            </a:r>
            <a:fld id="{14BE76F0-00FA-40FF-8E3D-EDAE95C765F4}" type="slidenum">
              <a:rPr lang="en-US" sz="1000" b="1">
                <a:solidFill>
                  <a:srgbClr val="808080"/>
                </a:solidFill>
                <a:cs typeface="Arial" charset="0"/>
                <a:sym typeface="Wingdings" pitchFamily="2" charset="2"/>
              </a:rPr>
              <a:pPr defTabSz="9138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000" b="1" dirty="0">
              <a:solidFill>
                <a:srgbClr val="808080"/>
              </a:solidFill>
              <a:cs typeface="Arial" charset="0"/>
              <a:sym typeface="Wingdings" pitchFamily="2" charset="2"/>
            </a:endParaRPr>
          </a:p>
        </p:txBody>
      </p:sp>
      <p:pic>
        <p:nvPicPr>
          <p:cNvPr id="11" name="Picture 7" descr="logo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954963" y="120652"/>
            <a:ext cx="1096962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Footer Placeholder 4"/>
          <p:cNvSpPr txBox="1">
            <a:spLocks/>
          </p:cNvSpPr>
          <p:nvPr userDrawn="1"/>
        </p:nvSpPr>
        <p:spPr>
          <a:xfrm>
            <a:off x="7232739" y="6553200"/>
            <a:ext cx="1981200" cy="1905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 defTabSz="9138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MAY 4</a:t>
            </a:r>
            <a:r>
              <a:rPr lang="en-US" sz="1000" baseline="30000" dirty="0">
                <a:solidFill>
                  <a:srgbClr val="808080"/>
                </a:solidFill>
                <a:cs typeface="Arial" pitchFamily="34" charset="0"/>
              </a:rPr>
              <a:t>th</a:t>
            </a:r>
            <a:r>
              <a:rPr lang="en-US" sz="1000" dirty="0">
                <a:solidFill>
                  <a:srgbClr val="808080"/>
                </a:solidFill>
                <a:cs typeface="Arial" pitchFamily="34" charset="0"/>
              </a:rPr>
              <a:t>, 2011</a:t>
            </a:r>
          </a:p>
        </p:txBody>
      </p:sp>
    </p:spTree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P Title Small Logos Simp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_and_Tag_K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206161" y="7331212"/>
            <a:ext cx="846534" cy="282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2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0022620" y="7207783"/>
            <a:ext cx="844770" cy="504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home_appliance_clr01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28570" y="7197195"/>
            <a:ext cx="1015841" cy="534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JA_Wave_1C_Horiz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661239" y="7343546"/>
            <a:ext cx="1128713" cy="218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ka_appliances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2865872" y="7355883"/>
            <a:ext cx="1366800" cy="213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Maytag_black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703651" y="7377036"/>
            <a:ext cx="846534" cy="163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8782812" y="7235990"/>
            <a:ext cx="809499" cy="440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7371905" y="7317089"/>
            <a:ext cx="989388" cy="27681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269" y="366194"/>
            <a:ext cx="10156827" cy="7617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50"/>
            <a:ext cx="10438960" cy="5921729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8463589" y="8177521"/>
            <a:ext cx="2633075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4FBB4E96-C875-4417-9870-619AD74193C0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087" y="297657"/>
            <a:ext cx="10156827" cy="483687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899264" y="8110518"/>
            <a:ext cx="3573081" cy="320894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32307" y="8110508"/>
            <a:ext cx="507921" cy="22568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5F15BCE6-A62F-49CC-9E93-E2B5AA5EA5F6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WP 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01" y="282000"/>
            <a:ext cx="9310424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23202" y="1127949"/>
            <a:ext cx="10438960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103476" y="7320385"/>
            <a:ext cx="5078413" cy="575254"/>
          </a:xfrm>
          <a:prstGeom prst="rect">
            <a:avLst/>
          </a:prstGeom>
          <a:solidFill>
            <a:schemeClr val="accent6"/>
          </a:solidFill>
        </p:spPr>
        <p:txBody>
          <a:bodyPr lIns="109597" tIns="54799" rIns="109597" bIns="54799" anchor="ctr"/>
          <a:lstStyle>
            <a:lvl1pPr algn="ctr">
              <a:defRPr sz="2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7"/>
          </p:nvPr>
        </p:nvSpPr>
        <p:spPr>
          <a:xfrm>
            <a:off x="4296170" y="7840752"/>
            <a:ext cx="2631311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087939" y="7840752"/>
            <a:ext cx="2633075" cy="449604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 </a:t>
            </a:r>
            <a:fld id="{9E2E091A-4676-4431-AB9A-7BF4BE4C3987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P Text with Right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423274" y="8036462"/>
            <a:ext cx="3620699" cy="282105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1278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  <a:r>
              <a:rPr lang="en-US" sz="1200" dirty="0">
                <a:solidFill>
                  <a:srgbClr val="EEECE1"/>
                </a:solidFill>
                <a:cs typeface="Arial" pitchFamily="34" charset="0"/>
                <a:sym typeface="Wingdings" pitchFamily="2" charset="2"/>
              </a:rPr>
              <a:t> CONFIDENTIAL</a:t>
            </a:r>
            <a:endParaRPr lang="en-US" sz="1200" dirty="0">
              <a:solidFill>
                <a:srgbClr val="EEECE1"/>
              </a:solidFill>
              <a:cs typeface="Arial" pitchFamily="34" charset="0"/>
            </a:endParaRPr>
          </a:p>
        </p:txBody>
      </p:sp>
      <p:pic>
        <p:nvPicPr>
          <p:cNvPr id="6" name="Picture 10" descr="gpo_v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9264263" y="89931"/>
            <a:ext cx="1832394" cy="934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210" y="282000"/>
            <a:ext cx="8793179" cy="428856"/>
          </a:xfrm>
          <a:prstGeom prst="rect">
            <a:avLst/>
          </a:prstGeom>
        </p:spPr>
        <p:txBody>
          <a:bodyPr lIns="109597" tIns="54799" rIns="109597" bIns="54799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23214" y="1127949"/>
            <a:ext cx="7758687" cy="6767690"/>
          </a:xfrm>
          <a:prstGeom prst="rect">
            <a:avLst/>
          </a:prstGeom>
        </p:spPr>
        <p:txBody>
          <a:bodyPr lIns="109597" tIns="54799" rIns="109597" bIns="54799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8464026" y="1127949"/>
            <a:ext cx="2398140" cy="6767690"/>
          </a:xfrm>
          <a:prstGeom prst="rect">
            <a:avLst/>
          </a:prstGeom>
        </p:spPr>
        <p:txBody>
          <a:bodyPr lIns="109597" tIns="54799" rIns="109597" bIns="54799"/>
          <a:lstStyle>
            <a:lvl1pPr marL="0" indent="0">
              <a:defRPr sz="1900" i="1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8"/>
          </p:nvPr>
        </p:nvSpPr>
        <p:spPr>
          <a:xfrm>
            <a:off x="4419623" y="8036462"/>
            <a:ext cx="2403806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6826951" y="8036462"/>
            <a:ext cx="3611880" cy="282105"/>
          </a:xfrm>
          <a:prstGeom prst="rect">
            <a:avLst/>
          </a:prstGeom>
        </p:spPr>
        <p:txBody>
          <a:bodyPr lIns="109597" tIns="54799" rIns="109597" bIns="54799"/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1900" dirty="0">
              <a:solidFill>
                <a:prstClr val="black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10431790" y="8036462"/>
            <a:ext cx="430321" cy="282105"/>
          </a:xfrm>
          <a:prstGeom prst="rect">
            <a:avLst/>
          </a:prstGeom>
        </p:spPr>
        <p:txBody>
          <a:bodyPr vert="horz" wrap="square" lIns="109597" tIns="54799" rIns="109597" bIns="54799" numCol="1" anchor="t" anchorCtr="0" compatLnSpc="1">
            <a:prstTxWarp prst="textNoShape">
              <a:avLst/>
            </a:prstTxWarp>
          </a:bodyPr>
          <a:lstStyle>
            <a:lvl1pPr defTabSz="1127852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1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006B0E4F-169C-4B13-843F-707FA874A65F}" type="slidenum">
              <a:rPr lang="en-US" sz="19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Texto 10"/>
          <p:cNvSpPr>
            <a:spLocks noGrp="1"/>
          </p:cNvSpPr>
          <p:nvPr>
            <p:ph type="body" sz="quarter" idx="10"/>
          </p:nvPr>
        </p:nvSpPr>
        <p:spPr>
          <a:xfrm>
            <a:off x="595623" y="7410009"/>
            <a:ext cx="9819833" cy="603139"/>
          </a:xfrm>
          <a:prstGeom prst="rect">
            <a:avLst/>
          </a:prstGeom>
          <a:solidFill>
            <a:srgbClr val="FFCC66"/>
          </a:solidFill>
          <a:ln w="317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12779" tIns="56391" rIns="112779" bIns="56391" anchor="ctr"/>
          <a:lstStyle>
            <a:lvl1pPr marL="422919" indent="-422919" algn="ct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200" kern="1200" baseline="0" dirty="0" smtClean="0">
                <a:solidFill>
                  <a:srgbClr val="0C0C0C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que para editar os estilos do texto mestre</a:t>
            </a:r>
          </a:p>
        </p:txBody>
      </p:sp>
      <p:sp>
        <p:nvSpPr>
          <p:cNvPr id="16" name="Título 15"/>
          <p:cNvSpPr>
            <a:spLocks noGrp="1"/>
          </p:cNvSpPr>
          <p:nvPr>
            <p:ph type="title"/>
          </p:nvPr>
        </p:nvSpPr>
        <p:spPr>
          <a:xfrm>
            <a:off x="423201" y="311364"/>
            <a:ext cx="9310424" cy="955623"/>
          </a:xfrm>
          <a:prstGeom prst="rect">
            <a:avLst/>
          </a:prstGeom>
        </p:spPr>
        <p:txBody>
          <a:bodyPr lIns="112779" tIns="56391" rIns="112779" bIns="56391"/>
          <a:lstStyle>
            <a:lvl1pPr>
              <a:defRPr baseline="0"/>
            </a:lvl1pPr>
          </a:lstStyle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367554" y="439332"/>
            <a:ext cx="12980303" cy="490970"/>
          </a:xfrm>
          <a:prstGeom prst="rect">
            <a:avLst/>
          </a:prstGeom>
        </p:spPr>
        <p:txBody>
          <a:bodyPr lIns="139163" tIns="69582" rIns="139163" bIns="69582"/>
          <a:lstStyle/>
          <a:p>
            <a:r>
              <a:rPr lang="en-US" smtClean="0"/>
              <a:t>Clique para editar o estilo do título mestre</a:t>
            </a:r>
            <a:endParaRPr lang="en-US" dirty="0"/>
          </a:p>
        </p:txBody>
      </p:sp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232140" y="1611189"/>
            <a:ext cx="12883579" cy="7710500"/>
          </a:xfrm>
          <a:prstGeom prst="rect">
            <a:avLst/>
          </a:prstGeom>
        </p:spPr>
        <p:txBody>
          <a:bodyPr lIns="139163" tIns="69582" rIns="139163" bIns="69582"/>
          <a:lstStyle/>
          <a:p>
            <a:pPr lvl="0"/>
            <a:r>
              <a:rPr lang="en-US" smtClean="0"/>
              <a:t>Clique para editar os estilos do texto mestre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540" y="367172"/>
            <a:ext cx="12535376" cy="596647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514946" y="10004656"/>
            <a:ext cx="4409833" cy="395835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2998777" y="10004642"/>
            <a:ext cx="626868" cy="278391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9FE101-7B36-4744-852D-ECCD6EA9EF47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P Section Head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 txBox="1">
            <a:spLocks/>
          </p:cNvSpPr>
          <p:nvPr/>
        </p:nvSpPr>
        <p:spPr>
          <a:xfrm>
            <a:off x="522397" y="9913297"/>
            <a:ext cx="4525194" cy="347987"/>
          </a:xfrm>
          <a:prstGeom prst="rect">
            <a:avLst/>
          </a:prstGeom>
        </p:spPr>
        <p:txBody>
          <a:bodyPr lIns="0" tIns="0" rIns="0" bIns="0" anchor="ctr"/>
          <a:lstStyle/>
          <a:p>
            <a:pPr defTabSz="139162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EEECE1"/>
                </a:solidFill>
                <a:cs typeface="Arial" pitchFamily="34" charset="0"/>
              </a:rPr>
              <a:t>WHIRLPOOL CORPORATION </a:t>
            </a:r>
          </a:p>
        </p:txBody>
      </p:sp>
      <p:sp>
        <p:nvSpPr>
          <p:cNvPr id="6" name="Rectangle 4"/>
          <p:cNvSpPr/>
          <p:nvPr/>
        </p:nvSpPr>
        <p:spPr>
          <a:xfrm>
            <a:off x="10449961" y="2087938"/>
            <a:ext cx="2960203" cy="29622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229" tIns="67616" rIns="135229" bIns="67616" anchor="ctr"/>
          <a:lstStyle/>
          <a:p>
            <a:pPr algn="ctr" defTabSz="139162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00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7" name="Straight Connector 5"/>
          <p:cNvCxnSpPr/>
          <p:nvPr/>
        </p:nvCxnSpPr>
        <p:spPr>
          <a:xfrm>
            <a:off x="10621920" y="2268465"/>
            <a:ext cx="2618474" cy="2175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"/>
          <p:cNvCxnSpPr/>
          <p:nvPr/>
        </p:nvCxnSpPr>
        <p:spPr>
          <a:xfrm>
            <a:off x="10621920" y="3895297"/>
            <a:ext cx="2618474" cy="4349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10446151" y="2448810"/>
            <a:ext cx="2966705" cy="1224404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600" cap="all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10446151" y="4062798"/>
            <a:ext cx="2966705" cy="811632"/>
          </a:xfrm>
          <a:prstGeom prst="rect">
            <a:avLst/>
          </a:prstGeom>
        </p:spPr>
        <p:txBody>
          <a:bodyPr lIns="175798" tIns="67616" rIns="175798" bIns="67616" anchor="ctr"/>
          <a:lstStyle>
            <a:lvl1pPr marL="0" indent="0" algn="l">
              <a:buNone/>
              <a:defRPr sz="2200" cap="none" baseline="0">
                <a:solidFill>
                  <a:schemeClr val="bg1"/>
                </a:solidFill>
              </a:defRPr>
            </a:lvl1pPr>
            <a:lvl2pPr marL="6761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5229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202843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70457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380726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405687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73301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409162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22317" y="2087056"/>
            <a:ext cx="9575634" cy="2963615"/>
          </a:xfrm>
          <a:prstGeom prst="rect">
            <a:avLst/>
          </a:prstGeom>
        </p:spPr>
        <p:txBody>
          <a:bodyPr lIns="135229" tIns="67616" rIns="135229" bIns="67616" anchor="ctr"/>
          <a:lstStyle>
            <a:lvl1pPr algn="r">
              <a:defRPr sz="41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38D0AFF0-6675-43CF-A036-393E3640926C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P Title Logos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PGS Amanabadge.jp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567193" y="8725792"/>
            <a:ext cx="2198388" cy="754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 descr="WPGS Consul_Color.jpg"/>
          <p:cNvPicPr>
            <a:picLocks noChangeAspect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1477336" y="8530049"/>
            <a:ext cx="1935015" cy="1146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2" descr="WPGS Jenn-Air_Badge.jpg"/>
          <p:cNvPicPr>
            <a:picLocks noChangeAspect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910151" y="8682294"/>
            <a:ext cx="2550999" cy="835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WPGS KA_Badge_blk.jpg"/>
          <p:cNvPicPr>
            <a:picLocks noChangeAspect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8523645" y="7122865"/>
            <a:ext cx="2270216" cy="1224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WPGS MaytagShield_Medium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5990074" y="7138096"/>
            <a:ext cx="1919779" cy="1202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5" descr="WPGS WP_Color_Badge.jpg"/>
          <p:cNvPicPr>
            <a:picLocks noChangeAspect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786085" y="7233791"/>
            <a:ext cx="2783898" cy="996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_BTP_peq"/>
          <p:cNvPicPr>
            <a:picLocks noChangeAspect="1" noChangeArrowheads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522397" y="8564844"/>
            <a:ext cx="1952429" cy="10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5752811" y="8756240"/>
            <a:ext cx="2429109" cy="6785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11" y="451716"/>
            <a:ext cx="12535376" cy="939656"/>
          </a:xfrm>
          <a:prstGeom prst="rect">
            <a:avLst/>
          </a:prstGeom>
        </p:spPr>
        <p:txBody>
          <a:bodyPr lIns="135229" tIns="67616" rIns="135229" bIns="67616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16"/>
          </p:nvPr>
        </p:nvSpPr>
        <p:spPr>
          <a:xfrm>
            <a:off x="522310" y="1391377"/>
            <a:ext cx="12883579" cy="5565476"/>
          </a:xfrm>
          <a:prstGeom prst="rect">
            <a:avLst/>
          </a:prstGeom>
        </p:spPr>
        <p:txBody>
          <a:bodyPr lIns="135229" tIns="67616" rIns="135229" bIns="67616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7"/>
          </p:nvPr>
        </p:nvSpPr>
        <p:spPr>
          <a:xfrm>
            <a:off x="5454623" y="9913297"/>
            <a:ext cx="2966734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8425702" y="9913297"/>
            <a:ext cx="4457718" cy="347987"/>
          </a:xfrm>
          <a:prstGeom prst="rect">
            <a:avLst/>
          </a:prstGeom>
        </p:spPr>
        <p:txBody>
          <a:bodyPr lIns="135229" tIns="67616" rIns="135229" bIns="67616"/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 sz="2300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0445604" y="10087294"/>
            <a:ext cx="3249695" cy="347987"/>
          </a:xfrm>
          <a:prstGeom prst="rect">
            <a:avLst/>
          </a:prstGeom>
        </p:spPr>
        <p:txBody>
          <a:bodyPr vert="horz" wrap="square" lIns="135229" tIns="67616" rIns="135229" bIns="67616" numCol="1" anchor="t" anchorCtr="0" compatLnSpc="1">
            <a:prstTxWarp prst="textNoShape">
              <a:avLst/>
            </a:prstTxWarp>
          </a:bodyPr>
          <a:lstStyle>
            <a:lvl1pPr defTabSz="1391629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 sz="2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 </a:t>
            </a:r>
            <a:fld id="{2E8BE35B-F435-41BF-8C1B-961C7150631A}" type="slidenum">
              <a:rPr lang="en-US" sz="23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n-US" sz="23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12.xml"/><Relationship Id="rId18" Type="http://schemas.openxmlformats.org/officeDocument/2006/relationships/slideLayout" Target="../slideLayouts/slideLayout617.xml"/><Relationship Id="rId26" Type="http://schemas.openxmlformats.org/officeDocument/2006/relationships/slideLayout" Target="../slideLayouts/slideLayout625.xml"/><Relationship Id="rId39" Type="http://schemas.openxmlformats.org/officeDocument/2006/relationships/slideLayout" Target="../slideLayouts/slideLayout638.xml"/><Relationship Id="rId21" Type="http://schemas.openxmlformats.org/officeDocument/2006/relationships/slideLayout" Target="../slideLayouts/slideLayout620.xml"/><Relationship Id="rId34" Type="http://schemas.openxmlformats.org/officeDocument/2006/relationships/slideLayout" Target="../slideLayouts/slideLayout633.xml"/><Relationship Id="rId42" Type="http://schemas.openxmlformats.org/officeDocument/2006/relationships/slideLayout" Target="../slideLayouts/slideLayout641.xml"/><Relationship Id="rId47" Type="http://schemas.openxmlformats.org/officeDocument/2006/relationships/slideLayout" Target="../slideLayouts/slideLayout646.xml"/><Relationship Id="rId50" Type="http://schemas.openxmlformats.org/officeDocument/2006/relationships/slideLayout" Target="../slideLayouts/slideLayout649.xml"/><Relationship Id="rId55" Type="http://schemas.openxmlformats.org/officeDocument/2006/relationships/slideLayout" Target="../slideLayouts/slideLayout654.xml"/><Relationship Id="rId63" Type="http://schemas.openxmlformats.org/officeDocument/2006/relationships/slideLayout" Target="../slideLayouts/slideLayout662.xml"/><Relationship Id="rId68" Type="http://schemas.openxmlformats.org/officeDocument/2006/relationships/slideLayout" Target="../slideLayouts/slideLayout667.xml"/><Relationship Id="rId7" Type="http://schemas.openxmlformats.org/officeDocument/2006/relationships/slideLayout" Target="../slideLayouts/slideLayout606.xml"/><Relationship Id="rId2" Type="http://schemas.openxmlformats.org/officeDocument/2006/relationships/slideLayout" Target="../slideLayouts/slideLayout601.xml"/><Relationship Id="rId16" Type="http://schemas.openxmlformats.org/officeDocument/2006/relationships/slideLayout" Target="../slideLayouts/slideLayout615.xml"/><Relationship Id="rId29" Type="http://schemas.openxmlformats.org/officeDocument/2006/relationships/slideLayout" Target="../slideLayouts/slideLayout628.xml"/><Relationship Id="rId1" Type="http://schemas.openxmlformats.org/officeDocument/2006/relationships/slideLayout" Target="../slideLayouts/slideLayout600.xml"/><Relationship Id="rId6" Type="http://schemas.openxmlformats.org/officeDocument/2006/relationships/slideLayout" Target="../slideLayouts/slideLayout605.xml"/><Relationship Id="rId11" Type="http://schemas.openxmlformats.org/officeDocument/2006/relationships/slideLayout" Target="../slideLayouts/slideLayout610.xml"/><Relationship Id="rId24" Type="http://schemas.openxmlformats.org/officeDocument/2006/relationships/slideLayout" Target="../slideLayouts/slideLayout623.xml"/><Relationship Id="rId32" Type="http://schemas.openxmlformats.org/officeDocument/2006/relationships/slideLayout" Target="../slideLayouts/slideLayout631.xml"/><Relationship Id="rId37" Type="http://schemas.openxmlformats.org/officeDocument/2006/relationships/slideLayout" Target="../slideLayouts/slideLayout636.xml"/><Relationship Id="rId40" Type="http://schemas.openxmlformats.org/officeDocument/2006/relationships/slideLayout" Target="../slideLayouts/slideLayout639.xml"/><Relationship Id="rId45" Type="http://schemas.openxmlformats.org/officeDocument/2006/relationships/slideLayout" Target="../slideLayouts/slideLayout644.xml"/><Relationship Id="rId53" Type="http://schemas.openxmlformats.org/officeDocument/2006/relationships/slideLayout" Target="../slideLayouts/slideLayout652.xml"/><Relationship Id="rId58" Type="http://schemas.openxmlformats.org/officeDocument/2006/relationships/slideLayout" Target="../slideLayouts/slideLayout657.xml"/><Relationship Id="rId66" Type="http://schemas.openxmlformats.org/officeDocument/2006/relationships/slideLayout" Target="../slideLayouts/slideLayout665.xml"/><Relationship Id="rId5" Type="http://schemas.openxmlformats.org/officeDocument/2006/relationships/slideLayout" Target="../slideLayouts/slideLayout604.xml"/><Relationship Id="rId15" Type="http://schemas.openxmlformats.org/officeDocument/2006/relationships/slideLayout" Target="../slideLayouts/slideLayout614.xml"/><Relationship Id="rId23" Type="http://schemas.openxmlformats.org/officeDocument/2006/relationships/slideLayout" Target="../slideLayouts/slideLayout622.xml"/><Relationship Id="rId28" Type="http://schemas.openxmlformats.org/officeDocument/2006/relationships/slideLayout" Target="../slideLayouts/slideLayout627.xml"/><Relationship Id="rId36" Type="http://schemas.openxmlformats.org/officeDocument/2006/relationships/slideLayout" Target="../slideLayouts/slideLayout635.xml"/><Relationship Id="rId49" Type="http://schemas.openxmlformats.org/officeDocument/2006/relationships/slideLayout" Target="../slideLayouts/slideLayout648.xml"/><Relationship Id="rId57" Type="http://schemas.openxmlformats.org/officeDocument/2006/relationships/slideLayout" Target="../slideLayouts/slideLayout656.xml"/><Relationship Id="rId61" Type="http://schemas.openxmlformats.org/officeDocument/2006/relationships/slideLayout" Target="../slideLayouts/slideLayout660.xml"/><Relationship Id="rId10" Type="http://schemas.openxmlformats.org/officeDocument/2006/relationships/slideLayout" Target="../slideLayouts/slideLayout609.xml"/><Relationship Id="rId19" Type="http://schemas.openxmlformats.org/officeDocument/2006/relationships/slideLayout" Target="../slideLayouts/slideLayout618.xml"/><Relationship Id="rId31" Type="http://schemas.openxmlformats.org/officeDocument/2006/relationships/slideLayout" Target="../slideLayouts/slideLayout630.xml"/><Relationship Id="rId44" Type="http://schemas.openxmlformats.org/officeDocument/2006/relationships/slideLayout" Target="../slideLayouts/slideLayout643.xml"/><Relationship Id="rId52" Type="http://schemas.openxmlformats.org/officeDocument/2006/relationships/slideLayout" Target="../slideLayouts/slideLayout651.xml"/><Relationship Id="rId60" Type="http://schemas.openxmlformats.org/officeDocument/2006/relationships/slideLayout" Target="../slideLayouts/slideLayout659.xml"/><Relationship Id="rId65" Type="http://schemas.openxmlformats.org/officeDocument/2006/relationships/slideLayout" Target="../slideLayouts/slideLayout664.xml"/><Relationship Id="rId4" Type="http://schemas.openxmlformats.org/officeDocument/2006/relationships/slideLayout" Target="../slideLayouts/slideLayout603.xml"/><Relationship Id="rId9" Type="http://schemas.openxmlformats.org/officeDocument/2006/relationships/slideLayout" Target="../slideLayouts/slideLayout608.xml"/><Relationship Id="rId14" Type="http://schemas.openxmlformats.org/officeDocument/2006/relationships/slideLayout" Target="../slideLayouts/slideLayout613.xml"/><Relationship Id="rId22" Type="http://schemas.openxmlformats.org/officeDocument/2006/relationships/slideLayout" Target="../slideLayouts/slideLayout621.xml"/><Relationship Id="rId27" Type="http://schemas.openxmlformats.org/officeDocument/2006/relationships/slideLayout" Target="../slideLayouts/slideLayout626.xml"/><Relationship Id="rId30" Type="http://schemas.openxmlformats.org/officeDocument/2006/relationships/slideLayout" Target="../slideLayouts/slideLayout629.xml"/><Relationship Id="rId35" Type="http://schemas.openxmlformats.org/officeDocument/2006/relationships/slideLayout" Target="../slideLayouts/slideLayout634.xml"/><Relationship Id="rId43" Type="http://schemas.openxmlformats.org/officeDocument/2006/relationships/slideLayout" Target="../slideLayouts/slideLayout642.xml"/><Relationship Id="rId48" Type="http://schemas.openxmlformats.org/officeDocument/2006/relationships/slideLayout" Target="../slideLayouts/slideLayout647.xml"/><Relationship Id="rId56" Type="http://schemas.openxmlformats.org/officeDocument/2006/relationships/slideLayout" Target="../slideLayouts/slideLayout655.xml"/><Relationship Id="rId64" Type="http://schemas.openxmlformats.org/officeDocument/2006/relationships/slideLayout" Target="../slideLayouts/slideLayout663.xml"/><Relationship Id="rId69" Type="http://schemas.openxmlformats.org/officeDocument/2006/relationships/theme" Target="../theme/theme10.xml"/><Relationship Id="rId8" Type="http://schemas.openxmlformats.org/officeDocument/2006/relationships/slideLayout" Target="../slideLayouts/slideLayout607.xml"/><Relationship Id="rId51" Type="http://schemas.openxmlformats.org/officeDocument/2006/relationships/slideLayout" Target="../slideLayouts/slideLayout650.xml"/><Relationship Id="rId3" Type="http://schemas.openxmlformats.org/officeDocument/2006/relationships/slideLayout" Target="../slideLayouts/slideLayout602.xml"/><Relationship Id="rId12" Type="http://schemas.openxmlformats.org/officeDocument/2006/relationships/slideLayout" Target="../slideLayouts/slideLayout611.xml"/><Relationship Id="rId17" Type="http://schemas.openxmlformats.org/officeDocument/2006/relationships/slideLayout" Target="../slideLayouts/slideLayout616.xml"/><Relationship Id="rId25" Type="http://schemas.openxmlformats.org/officeDocument/2006/relationships/slideLayout" Target="../slideLayouts/slideLayout624.xml"/><Relationship Id="rId33" Type="http://schemas.openxmlformats.org/officeDocument/2006/relationships/slideLayout" Target="../slideLayouts/slideLayout632.xml"/><Relationship Id="rId38" Type="http://schemas.openxmlformats.org/officeDocument/2006/relationships/slideLayout" Target="../slideLayouts/slideLayout637.xml"/><Relationship Id="rId46" Type="http://schemas.openxmlformats.org/officeDocument/2006/relationships/slideLayout" Target="../slideLayouts/slideLayout645.xml"/><Relationship Id="rId59" Type="http://schemas.openxmlformats.org/officeDocument/2006/relationships/slideLayout" Target="../slideLayouts/slideLayout658.xml"/><Relationship Id="rId67" Type="http://schemas.openxmlformats.org/officeDocument/2006/relationships/slideLayout" Target="../slideLayouts/slideLayout666.xml"/><Relationship Id="rId20" Type="http://schemas.openxmlformats.org/officeDocument/2006/relationships/slideLayout" Target="../slideLayouts/slideLayout619.xml"/><Relationship Id="rId41" Type="http://schemas.openxmlformats.org/officeDocument/2006/relationships/slideLayout" Target="../slideLayouts/slideLayout640.xml"/><Relationship Id="rId54" Type="http://schemas.openxmlformats.org/officeDocument/2006/relationships/slideLayout" Target="../slideLayouts/slideLayout653.xml"/><Relationship Id="rId62" Type="http://schemas.openxmlformats.org/officeDocument/2006/relationships/slideLayout" Target="../slideLayouts/slideLayout661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80.xml"/><Relationship Id="rId18" Type="http://schemas.openxmlformats.org/officeDocument/2006/relationships/slideLayout" Target="../slideLayouts/slideLayout685.xml"/><Relationship Id="rId26" Type="http://schemas.openxmlformats.org/officeDocument/2006/relationships/slideLayout" Target="../slideLayouts/slideLayout693.xml"/><Relationship Id="rId39" Type="http://schemas.openxmlformats.org/officeDocument/2006/relationships/slideLayout" Target="../slideLayouts/slideLayout706.xml"/><Relationship Id="rId21" Type="http://schemas.openxmlformats.org/officeDocument/2006/relationships/slideLayout" Target="../slideLayouts/slideLayout688.xml"/><Relationship Id="rId34" Type="http://schemas.openxmlformats.org/officeDocument/2006/relationships/slideLayout" Target="../slideLayouts/slideLayout701.xml"/><Relationship Id="rId42" Type="http://schemas.openxmlformats.org/officeDocument/2006/relationships/slideLayout" Target="../slideLayouts/slideLayout709.xml"/><Relationship Id="rId47" Type="http://schemas.openxmlformats.org/officeDocument/2006/relationships/slideLayout" Target="../slideLayouts/slideLayout714.xml"/><Relationship Id="rId50" Type="http://schemas.openxmlformats.org/officeDocument/2006/relationships/slideLayout" Target="../slideLayouts/slideLayout717.xml"/><Relationship Id="rId55" Type="http://schemas.openxmlformats.org/officeDocument/2006/relationships/slideLayout" Target="../slideLayouts/slideLayout722.xml"/><Relationship Id="rId63" Type="http://schemas.openxmlformats.org/officeDocument/2006/relationships/slideLayout" Target="../slideLayouts/slideLayout730.xml"/><Relationship Id="rId68" Type="http://schemas.openxmlformats.org/officeDocument/2006/relationships/slideLayout" Target="../slideLayouts/slideLayout735.xml"/><Relationship Id="rId7" Type="http://schemas.openxmlformats.org/officeDocument/2006/relationships/slideLayout" Target="../slideLayouts/slideLayout674.xml"/><Relationship Id="rId2" Type="http://schemas.openxmlformats.org/officeDocument/2006/relationships/slideLayout" Target="../slideLayouts/slideLayout669.xml"/><Relationship Id="rId16" Type="http://schemas.openxmlformats.org/officeDocument/2006/relationships/slideLayout" Target="../slideLayouts/slideLayout683.xml"/><Relationship Id="rId29" Type="http://schemas.openxmlformats.org/officeDocument/2006/relationships/slideLayout" Target="../slideLayouts/slideLayout696.xml"/><Relationship Id="rId1" Type="http://schemas.openxmlformats.org/officeDocument/2006/relationships/slideLayout" Target="../slideLayouts/slideLayout668.xml"/><Relationship Id="rId6" Type="http://schemas.openxmlformats.org/officeDocument/2006/relationships/slideLayout" Target="../slideLayouts/slideLayout673.xml"/><Relationship Id="rId11" Type="http://schemas.openxmlformats.org/officeDocument/2006/relationships/slideLayout" Target="../slideLayouts/slideLayout678.xml"/><Relationship Id="rId24" Type="http://schemas.openxmlformats.org/officeDocument/2006/relationships/slideLayout" Target="../slideLayouts/slideLayout691.xml"/><Relationship Id="rId32" Type="http://schemas.openxmlformats.org/officeDocument/2006/relationships/slideLayout" Target="../slideLayouts/slideLayout699.xml"/><Relationship Id="rId37" Type="http://schemas.openxmlformats.org/officeDocument/2006/relationships/slideLayout" Target="../slideLayouts/slideLayout704.xml"/><Relationship Id="rId40" Type="http://schemas.openxmlformats.org/officeDocument/2006/relationships/slideLayout" Target="../slideLayouts/slideLayout707.xml"/><Relationship Id="rId45" Type="http://schemas.openxmlformats.org/officeDocument/2006/relationships/slideLayout" Target="../slideLayouts/slideLayout712.xml"/><Relationship Id="rId53" Type="http://schemas.openxmlformats.org/officeDocument/2006/relationships/slideLayout" Target="../slideLayouts/slideLayout720.xml"/><Relationship Id="rId58" Type="http://schemas.openxmlformats.org/officeDocument/2006/relationships/slideLayout" Target="../slideLayouts/slideLayout725.xml"/><Relationship Id="rId66" Type="http://schemas.openxmlformats.org/officeDocument/2006/relationships/slideLayout" Target="../slideLayouts/slideLayout733.xml"/><Relationship Id="rId5" Type="http://schemas.openxmlformats.org/officeDocument/2006/relationships/slideLayout" Target="../slideLayouts/slideLayout672.xml"/><Relationship Id="rId15" Type="http://schemas.openxmlformats.org/officeDocument/2006/relationships/slideLayout" Target="../slideLayouts/slideLayout682.xml"/><Relationship Id="rId23" Type="http://schemas.openxmlformats.org/officeDocument/2006/relationships/slideLayout" Target="../slideLayouts/slideLayout690.xml"/><Relationship Id="rId28" Type="http://schemas.openxmlformats.org/officeDocument/2006/relationships/slideLayout" Target="../slideLayouts/slideLayout695.xml"/><Relationship Id="rId36" Type="http://schemas.openxmlformats.org/officeDocument/2006/relationships/slideLayout" Target="../slideLayouts/slideLayout703.xml"/><Relationship Id="rId49" Type="http://schemas.openxmlformats.org/officeDocument/2006/relationships/slideLayout" Target="../slideLayouts/slideLayout716.xml"/><Relationship Id="rId57" Type="http://schemas.openxmlformats.org/officeDocument/2006/relationships/slideLayout" Target="../slideLayouts/slideLayout724.xml"/><Relationship Id="rId61" Type="http://schemas.openxmlformats.org/officeDocument/2006/relationships/slideLayout" Target="../slideLayouts/slideLayout728.xml"/><Relationship Id="rId10" Type="http://schemas.openxmlformats.org/officeDocument/2006/relationships/slideLayout" Target="../slideLayouts/slideLayout677.xml"/><Relationship Id="rId19" Type="http://schemas.openxmlformats.org/officeDocument/2006/relationships/slideLayout" Target="../slideLayouts/slideLayout686.xml"/><Relationship Id="rId31" Type="http://schemas.openxmlformats.org/officeDocument/2006/relationships/slideLayout" Target="../slideLayouts/slideLayout698.xml"/><Relationship Id="rId44" Type="http://schemas.openxmlformats.org/officeDocument/2006/relationships/slideLayout" Target="../slideLayouts/slideLayout711.xml"/><Relationship Id="rId52" Type="http://schemas.openxmlformats.org/officeDocument/2006/relationships/slideLayout" Target="../slideLayouts/slideLayout719.xml"/><Relationship Id="rId60" Type="http://schemas.openxmlformats.org/officeDocument/2006/relationships/slideLayout" Target="../slideLayouts/slideLayout727.xml"/><Relationship Id="rId65" Type="http://schemas.openxmlformats.org/officeDocument/2006/relationships/slideLayout" Target="../slideLayouts/slideLayout732.xml"/><Relationship Id="rId4" Type="http://schemas.openxmlformats.org/officeDocument/2006/relationships/slideLayout" Target="../slideLayouts/slideLayout671.xml"/><Relationship Id="rId9" Type="http://schemas.openxmlformats.org/officeDocument/2006/relationships/slideLayout" Target="../slideLayouts/slideLayout676.xml"/><Relationship Id="rId14" Type="http://schemas.openxmlformats.org/officeDocument/2006/relationships/slideLayout" Target="../slideLayouts/slideLayout681.xml"/><Relationship Id="rId22" Type="http://schemas.openxmlformats.org/officeDocument/2006/relationships/slideLayout" Target="../slideLayouts/slideLayout689.xml"/><Relationship Id="rId27" Type="http://schemas.openxmlformats.org/officeDocument/2006/relationships/slideLayout" Target="../slideLayouts/slideLayout694.xml"/><Relationship Id="rId30" Type="http://schemas.openxmlformats.org/officeDocument/2006/relationships/slideLayout" Target="../slideLayouts/slideLayout697.xml"/><Relationship Id="rId35" Type="http://schemas.openxmlformats.org/officeDocument/2006/relationships/slideLayout" Target="../slideLayouts/slideLayout702.xml"/><Relationship Id="rId43" Type="http://schemas.openxmlformats.org/officeDocument/2006/relationships/slideLayout" Target="../slideLayouts/slideLayout710.xml"/><Relationship Id="rId48" Type="http://schemas.openxmlformats.org/officeDocument/2006/relationships/slideLayout" Target="../slideLayouts/slideLayout715.xml"/><Relationship Id="rId56" Type="http://schemas.openxmlformats.org/officeDocument/2006/relationships/slideLayout" Target="../slideLayouts/slideLayout723.xml"/><Relationship Id="rId64" Type="http://schemas.openxmlformats.org/officeDocument/2006/relationships/slideLayout" Target="../slideLayouts/slideLayout731.xml"/><Relationship Id="rId69" Type="http://schemas.openxmlformats.org/officeDocument/2006/relationships/theme" Target="../theme/theme11.xml"/><Relationship Id="rId8" Type="http://schemas.openxmlformats.org/officeDocument/2006/relationships/slideLayout" Target="../slideLayouts/slideLayout675.xml"/><Relationship Id="rId51" Type="http://schemas.openxmlformats.org/officeDocument/2006/relationships/slideLayout" Target="../slideLayouts/slideLayout718.xml"/><Relationship Id="rId3" Type="http://schemas.openxmlformats.org/officeDocument/2006/relationships/slideLayout" Target="../slideLayouts/slideLayout670.xml"/><Relationship Id="rId12" Type="http://schemas.openxmlformats.org/officeDocument/2006/relationships/slideLayout" Target="../slideLayouts/slideLayout679.xml"/><Relationship Id="rId17" Type="http://schemas.openxmlformats.org/officeDocument/2006/relationships/slideLayout" Target="../slideLayouts/slideLayout684.xml"/><Relationship Id="rId25" Type="http://schemas.openxmlformats.org/officeDocument/2006/relationships/slideLayout" Target="../slideLayouts/slideLayout692.xml"/><Relationship Id="rId33" Type="http://schemas.openxmlformats.org/officeDocument/2006/relationships/slideLayout" Target="../slideLayouts/slideLayout700.xml"/><Relationship Id="rId38" Type="http://schemas.openxmlformats.org/officeDocument/2006/relationships/slideLayout" Target="../slideLayouts/slideLayout705.xml"/><Relationship Id="rId46" Type="http://schemas.openxmlformats.org/officeDocument/2006/relationships/slideLayout" Target="../slideLayouts/slideLayout713.xml"/><Relationship Id="rId59" Type="http://schemas.openxmlformats.org/officeDocument/2006/relationships/slideLayout" Target="../slideLayouts/slideLayout726.xml"/><Relationship Id="rId67" Type="http://schemas.openxmlformats.org/officeDocument/2006/relationships/slideLayout" Target="../slideLayouts/slideLayout734.xml"/><Relationship Id="rId20" Type="http://schemas.openxmlformats.org/officeDocument/2006/relationships/slideLayout" Target="../slideLayouts/slideLayout687.xml"/><Relationship Id="rId41" Type="http://schemas.openxmlformats.org/officeDocument/2006/relationships/slideLayout" Target="../slideLayouts/slideLayout708.xml"/><Relationship Id="rId54" Type="http://schemas.openxmlformats.org/officeDocument/2006/relationships/slideLayout" Target="../slideLayouts/slideLayout721.xml"/><Relationship Id="rId62" Type="http://schemas.openxmlformats.org/officeDocument/2006/relationships/slideLayout" Target="../slideLayouts/slideLayout72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26" Type="http://schemas.openxmlformats.org/officeDocument/2006/relationships/slideLayout" Target="../slideLayouts/slideLayout90.xml"/><Relationship Id="rId39" Type="http://schemas.openxmlformats.org/officeDocument/2006/relationships/slideLayout" Target="../slideLayouts/slideLayout103.xml"/><Relationship Id="rId21" Type="http://schemas.openxmlformats.org/officeDocument/2006/relationships/slideLayout" Target="../slideLayouts/slideLayout85.xml"/><Relationship Id="rId34" Type="http://schemas.openxmlformats.org/officeDocument/2006/relationships/slideLayout" Target="../slideLayouts/slideLayout98.xml"/><Relationship Id="rId42" Type="http://schemas.openxmlformats.org/officeDocument/2006/relationships/slideLayout" Target="../slideLayouts/slideLayout106.xml"/><Relationship Id="rId47" Type="http://schemas.openxmlformats.org/officeDocument/2006/relationships/slideLayout" Target="../slideLayouts/slideLayout111.xml"/><Relationship Id="rId50" Type="http://schemas.openxmlformats.org/officeDocument/2006/relationships/slideLayout" Target="../slideLayouts/slideLayout114.xml"/><Relationship Id="rId55" Type="http://schemas.openxmlformats.org/officeDocument/2006/relationships/slideLayout" Target="../slideLayouts/slideLayout119.xml"/><Relationship Id="rId63" Type="http://schemas.openxmlformats.org/officeDocument/2006/relationships/slideLayout" Target="../slideLayouts/slideLayout127.xml"/><Relationship Id="rId68" Type="http://schemas.openxmlformats.org/officeDocument/2006/relationships/slideLayout" Target="../slideLayouts/slideLayout132.xml"/><Relationship Id="rId7" Type="http://schemas.openxmlformats.org/officeDocument/2006/relationships/slideLayout" Target="../slideLayouts/slideLayout71.xml"/><Relationship Id="rId71" Type="http://schemas.openxmlformats.org/officeDocument/2006/relationships/theme" Target="../theme/theme2.x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9" Type="http://schemas.openxmlformats.org/officeDocument/2006/relationships/slideLayout" Target="../slideLayouts/slideLayout93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24" Type="http://schemas.openxmlformats.org/officeDocument/2006/relationships/slideLayout" Target="../slideLayouts/slideLayout88.xml"/><Relationship Id="rId32" Type="http://schemas.openxmlformats.org/officeDocument/2006/relationships/slideLayout" Target="../slideLayouts/slideLayout96.xml"/><Relationship Id="rId37" Type="http://schemas.openxmlformats.org/officeDocument/2006/relationships/slideLayout" Target="../slideLayouts/slideLayout101.xml"/><Relationship Id="rId40" Type="http://schemas.openxmlformats.org/officeDocument/2006/relationships/slideLayout" Target="../slideLayouts/slideLayout104.xml"/><Relationship Id="rId45" Type="http://schemas.openxmlformats.org/officeDocument/2006/relationships/slideLayout" Target="../slideLayouts/slideLayout109.xml"/><Relationship Id="rId53" Type="http://schemas.openxmlformats.org/officeDocument/2006/relationships/slideLayout" Target="../slideLayouts/slideLayout117.xml"/><Relationship Id="rId58" Type="http://schemas.openxmlformats.org/officeDocument/2006/relationships/slideLayout" Target="../slideLayouts/slideLayout122.xml"/><Relationship Id="rId66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23" Type="http://schemas.openxmlformats.org/officeDocument/2006/relationships/slideLayout" Target="../slideLayouts/slideLayout87.xml"/><Relationship Id="rId28" Type="http://schemas.openxmlformats.org/officeDocument/2006/relationships/slideLayout" Target="../slideLayouts/slideLayout92.xml"/><Relationship Id="rId36" Type="http://schemas.openxmlformats.org/officeDocument/2006/relationships/slideLayout" Target="../slideLayouts/slideLayout100.xml"/><Relationship Id="rId49" Type="http://schemas.openxmlformats.org/officeDocument/2006/relationships/slideLayout" Target="../slideLayouts/slideLayout113.xml"/><Relationship Id="rId57" Type="http://schemas.openxmlformats.org/officeDocument/2006/relationships/slideLayout" Target="../slideLayouts/slideLayout121.xml"/><Relationship Id="rId61" Type="http://schemas.openxmlformats.org/officeDocument/2006/relationships/slideLayout" Target="../slideLayouts/slideLayout125.xml"/><Relationship Id="rId10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83.xml"/><Relationship Id="rId31" Type="http://schemas.openxmlformats.org/officeDocument/2006/relationships/slideLayout" Target="../slideLayouts/slideLayout95.xml"/><Relationship Id="rId44" Type="http://schemas.openxmlformats.org/officeDocument/2006/relationships/slideLayout" Target="../slideLayouts/slideLayout108.xml"/><Relationship Id="rId52" Type="http://schemas.openxmlformats.org/officeDocument/2006/relationships/slideLayout" Target="../slideLayouts/slideLayout116.xml"/><Relationship Id="rId60" Type="http://schemas.openxmlformats.org/officeDocument/2006/relationships/slideLayout" Target="../slideLayouts/slideLayout124.xml"/><Relationship Id="rId65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slideLayout" Target="../slideLayouts/slideLayout86.xml"/><Relationship Id="rId27" Type="http://schemas.openxmlformats.org/officeDocument/2006/relationships/slideLayout" Target="../slideLayouts/slideLayout91.xml"/><Relationship Id="rId30" Type="http://schemas.openxmlformats.org/officeDocument/2006/relationships/slideLayout" Target="../slideLayouts/slideLayout94.xml"/><Relationship Id="rId35" Type="http://schemas.openxmlformats.org/officeDocument/2006/relationships/slideLayout" Target="../slideLayouts/slideLayout99.xml"/><Relationship Id="rId43" Type="http://schemas.openxmlformats.org/officeDocument/2006/relationships/slideLayout" Target="../slideLayouts/slideLayout107.xml"/><Relationship Id="rId48" Type="http://schemas.openxmlformats.org/officeDocument/2006/relationships/slideLayout" Target="../slideLayouts/slideLayout112.xml"/><Relationship Id="rId56" Type="http://schemas.openxmlformats.org/officeDocument/2006/relationships/slideLayout" Target="../slideLayouts/slideLayout120.xml"/><Relationship Id="rId64" Type="http://schemas.openxmlformats.org/officeDocument/2006/relationships/slideLayout" Target="../slideLayouts/slideLayout128.xml"/><Relationship Id="rId69" Type="http://schemas.openxmlformats.org/officeDocument/2006/relationships/slideLayout" Target="../slideLayouts/slideLayout133.xml"/><Relationship Id="rId8" Type="http://schemas.openxmlformats.org/officeDocument/2006/relationships/slideLayout" Target="../slideLayouts/slideLayout72.xml"/><Relationship Id="rId51" Type="http://schemas.openxmlformats.org/officeDocument/2006/relationships/slideLayout" Target="../slideLayouts/slideLayout115.xml"/><Relationship Id="rId3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5" Type="http://schemas.openxmlformats.org/officeDocument/2006/relationships/slideLayout" Target="../slideLayouts/slideLayout89.xml"/><Relationship Id="rId33" Type="http://schemas.openxmlformats.org/officeDocument/2006/relationships/slideLayout" Target="../slideLayouts/slideLayout97.xml"/><Relationship Id="rId38" Type="http://schemas.openxmlformats.org/officeDocument/2006/relationships/slideLayout" Target="../slideLayouts/slideLayout102.xml"/><Relationship Id="rId46" Type="http://schemas.openxmlformats.org/officeDocument/2006/relationships/slideLayout" Target="../slideLayouts/slideLayout110.xml"/><Relationship Id="rId59" Type="http://schemas.openxmlformats.org/officeDocument/2006/relationships/slideLayout" Target="../slideLayouts/slideLayout123.xml"/><Relationship Id="rId67" Type="http://schemas.openxmlformats.org/officeDocument/2006/relationships/slideLayout" Target="../slideLayouts/slideLayout131.xml"/><Relationship Id="rId20" Type="http://schemas.openxmlformats.org/officeDocument/2006/relationships/slideLayout" Target="../slideLayouts/slideLayout84.xml"/><Relationship Id="rId41" Type="http://schemas.openxmlformats.org/officeDocument/2006/relationships/slideLayout" Target="../slideLayouts/slideLayout105.xml"/><Relationship Id="rId54" Type="http://schemas.openxmlformats.org/officeDocument/2006/relationships/slideLayout" Target="../slideLayouts/slideLayout118.xml"/><Relationship Id="rId62" Type="http://schemas.openxmlformats.org/officeDocument/2006/relationships/slideLayout" Target="../slideLayouts/slideLayout126.xml"/><Relationship Id="rId70" Type="http://schemas.openxmlformats.org/officeDocument/2006/relationships/slideLayout" Target="../slideLayouts/slideLayout134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7.xml"/><Relationship Id="rId18" Type="http://schemas.openxmlformats.org/officeDocument/2006/relationships/slideLayout" Target="../slideLayouts/slideLayout152.xml"/><Relationship Id="rId26" Type="http://schemas.openxmlformats.org/officeDocument/2006/relationships/slideLayout" Target="../slideLayouts/slideLayout160.xml"/><Relationship Id="rId39" Type="http://schemas.openxmlformats.org/officeDocument/2006/relationships/slideLayout" Target="../slideLayouts/slideLayout173.xml"/><Relationship Id="rId21" Type="http://schemas.openxmlformats.org/officeDocument/2006/relationships/slideLayout" Target="../slideLayouts/slideLayout155.xml"/><Relationship Id="rId34" Type="http://schemas.openxmlformats.org/officeDocument/2006/relationships/slideLayout" Target="../slideLayouts/slideLayout168.xml"/><Relationship Id="rId42" Type="http://schemas.openxmlformats.org/officeDocument/2006/relationships/slideLayout" Target="../slideLayouts/slideLayout176.xml"/><Relationship Id="rId47" Type="http://schemas.openxmlformats.org/officeDocument/2006/relationships/slideLayout" Target="../slideLayouts/slideLayout181.xml"/><Relationship Id="rId50" Type="http://schemas.openxmlformats.org/officeDocument/2006/relationships/slideLayout" Target="../slideLayouts/slideLayout184.xml"/><Relationship Id="rId55" Type="http://schemas.openxmlformats.org/officeDocument/2006/relationships/slideLayout" Target="../slideLayouts/slideLayout189.xml"/><Relationship Id="rId63" Type="http://schemas.openxmlformats.org/officeDocument/2006/relationships/slideLayout" Target="../slideLayouts/slideLayout197.xml"/><Relationship Id="rId7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136.xml"/><Relationship Id="rId16" Type="http://schemas.openxmlformats.org/officeDocument/2006/relationships/slideLayout" Target="../slideLayouts/slideLayout150.xml"/><Relationship Id="rId20" Type="http://schemas.openxmlformats.org/officeDocument/2006/relationships/slideLayout" Target="../slideLayouts/slideLayout154.xml"/><Relationship Id="rId29" Type="http://schemas.openxmlformats.org/officeDocument/2006/relationships/slideLayout" Target="../slideLayouts/slideLayout163.xml"/><Relationship Id="rId41" Type="http://schemas.openxmlformats.org/officeDocument/2006/relationships/slideLayout" Target="../slideLayouts/slideLayout175.xml"/><Relationship Id="rId54" Type="http://schemas.openxmlformats.org/officeDocument/2006/relationships/slideLayout" Target="../slideLayouts/slideLayout188.xml"/><Relationship Id="rId62" Type="http://schemas.openxmlformats.org/officeDocument/2006/relationships/slideLayout" Target="../slideLayouts/slideLayout196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24" Type="http://schemas.openxmlformats.org/officeDocument/2006/relationships/slideLayout" Target="../slideLayouts/slideLayout158.xml"/><Relationship Id="rId32" Type="http://schemas.openxmlformats.org/officeDocument/2006/relationships/slideLayout" Target="../slideLayouts/slideLayout166.xml"/><Relationship Id="rId37" Type="http://schemas.openxmlformats.org/officeDocument/2006/relationships/slideLayout" Target="../slideLayouts/slideLayout171.xml"/><Relationship Id="rId40" Type="http://schemas.openxmlformats.org/officeDocument/2006/relationships/slideLayout" Target="../slideLayouts/slideLayout174.xml"/><Relationship Id="rId45" Type="http://schemas.openxmlformats.org/officeDocument/2006/relationships/slideLayout" Target="../slideLayouts/slideLayout179.xml"/><Relationship Id="rId53" Type="http://schemas.openxmlformats.org/officeDocument/2006/relationships/slideLayout" Target="../slideLayouts/slideLayout187.xml"/><Relationship Id="rId58" Type="http://schemas.openxmlformats.org/officeDocument/2006/relationships/slideLayout" Target="../slideLayouts/slideLayout192.xml"/><Relationship Id="rId5" Type="http://schemas.openxmlformats.org/officeDocument/2006/relationships/slideLayout" Target="../slideLayouts/slideLayout139.xml"/><Relationship Id="rId15" Type="http://schemas.openxmlformats.org/officeDocument/2006/relationships/slideLayout" Target="../slideLayouts/slideLayout149.xml"/><Relationship Id="rId23" Type="http://schemas.openxmlformats.org/officeDocument/2006/relationships/slideLayout" Target="../slideLayouts/slideLayout157.xml"/><Relationship Id="rId28" Type="http://schemas.openxmlformats.org/officeDocument/2006/relationships/slideLayout" Target="../slideLayouts/slideLayout162.xml"/><Relationship Id="rId36" Type="http://schemas.openxmlformats.org/officeDocument/2006/relationships/slideLayout" Target="../slideLayouts/slideLayout170.xml"/><Relationship Id="rId49" Type="http://schemas.openxmlformats.org/officeDocument/2006/relationships/slideLayout" Target="../slideLayouts/slideLayout183.xml"/><Relationship Id="rId57" Type="http://schemas.openxmlformats.org/officeDocument/2006/relationships/slideLayout" Target="../slideLayouts/slideLayout191.xml"/><Relationship Id="rId61" Type="http://schemas.openxmlformats.org/officeDocument/2006/relationships/slideLayout" Target="../slideLayouts/slideLayout195.xml"/><Relationship Id="rId10" Type="http://schemas.openxmlformats.org/officeDocument/2006/relationships/slideLayout" Target="../slideLayouts/slideLayout144.xml"/><Relationship Id="rId19" Type="http://schemas.openxmlformats.org/officeDocument/2006/relationships/slideLayout" Target="../slideLayouts/slideLayout153.xml"/><Relationship Id="rId31" Type="http://schemas.openxmlformats.org/officeDocument/2006/relationships/slideLayout" Target="../slideLayouts/slideLayout165.xml"/><Relationship Id="rId44" Type="http://schemas.openxmlformats.org/officeDocument/2006/relationships/slideLayout" Target="../slideLayouts/slideLayout178.xml"/><Relationship Id="rId52" Type="http://schemas.openxmlformats.org/officeDocument/2006/relationships/slideLayout" Target="../slideLayouts/slideLayout186.xml"/><Relationship Id="rId60" Type="http://schemas.openxmlformats.org/officeDocument/2006/relationships/slideLayout" Target="../slideLayouts/slideLayout194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Relationship Id="rId22" Type="http://schemas.openxmlformats.org/officeDocument/2006/relationships/slideLayout" Target="../slideLayouts/slideLayout156.xml"/><Relationship Id="rId27" Type="http://schemas.openxmlformats.org/officeDocument/2006/relationships/slideLayout" Target="../slideLayouts/slideLayout161.xml"/><Relationship Id="rId30" Type="http://schemas.openxmlformats.org/officeDocument/2006/relationships/slideLayout" Target="../slideLayouts/slideLayout164.xml"/><Relationship Id="rId35" Type="http://schemas.openxmlformats.org/officeDocument/2006/relationships/slideLayout" Target="../slideLayouts/slideLayout169.xml"/><Relationship Id="rId43" Type="http://schemas.openxmlformats.org/officeDocument/2006/relationships/slideLayout" Target="../slideLayouts/slideLayout177.xml"/><Relationship Id="rId48" Type="http://schemas.openxmlformats.org/officeDocument/2006/relationships/slideLayout" Target="../slideLayouts/slideLayout182.xml"/><Relationship Id="rId56" Type="http://schemas.openxmlformats.org/officeDocument/2006/relationships/slideLayout" Target="../slideLayouts/slideLayout190.xml"/><Relationship Id="rId64" Type="http://schemas.openxmlformats.org/officeDocument/2006/relationships/theme" Target="../theme/theme3.xml"/><Relationship Id="rId8" Type="http://schemas.openxmlformats.org/officeDocument/2006/relationships/slideLayout" Target="../slideLayouts/slideLayout142.xml"/><Relationship Id="rId51" Type="http://schemas.openxmlformats.org/officeDocument/2006/relationships/slideLayout" Target="../slideLayouts/slideLayout185.xml"/><Relationship Id="rId3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46.xml"/><Relationship Id="rId17" Type="http://schemas.openxmlformats.org/officeDocument/2006/relationships/slideLayout" Target="../slideLayouts/slideLayout151.xml"/><Relationship Id="rId25" Type="http://schemas.openxmlformats.org/officeDocument/2006/relationships/slideLayout" Target="../slideLayouts/slideLayout159.xml"/><Relationship Id="rId33" Type="http://schemas.openxmlformats.org/officeDocument/2006/relationships/slideLayout" Target="../slideLayouts/slideLayout167.xml"/><Relationship Id="rId38" Type="http://schemas.openxmlformats.org/officeDocument/2006/relationships/slideLayout" Target="../slideLayouts/slideLayout172.xml"/><Relationship Id="rId46" Type="http://schemas.openxmlformats.org/officeDocument/2006/relationships/slideLayout" Target="../slideLayouts/slideLayout180.xml"/><Relationship Id="rId59" Type="http://schemas.openxmlformats.org/officeDocument/2006/relationships/slideLayout" Target="../slideLayouts/slideLayout19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10.xml"/><Relationship Id="rId18" Type="http://schemas.openxmlformats.org/officeDocument/2006/relationships/slideLayout" Target="../slideLayouts/slideLayout215.xml"/><Relationship Id="rId26" Type="http://schemas.openxmlformats.org/officeDocument/2006/relationships/slideLayout" Target="../slideLayouts/slideLayout223.xml"/><Relationship Id="rId39" Type="http://schemas.openxmlformats.org/officeDocument/2006/relationships/slideLayout" Target="../slideLayouts/slideLayout236.xml"/><Relationship Id="rId21" Type="http://schemas.openxmlformats.org/officeDocument/2006/relationships/slideLayout" Target="../slideLayouts/slideLayout218.xml"/><Relationship Id="rId34" Type="http://schemas.openxmlformats.org/officeDocument/2006/relationships/slideLayout" Target="../slideLayouts/slideLayout231.xml"/><Relationship Id="rId42" Type="http://schemas.openxmlformats.org/officeDocument/2006/relationships/slideLayout" Target="../slideLayouts/slideLayout239.xml"/><Relationship Id="rId47" Type="http://schemas.openxmlformats.org/officeDocument/2006/relationships/slideLayout" Target="../slideLayouts/slideLayout244.xml"/><Relationship Id="rId50" Type="http://schemas.openxmlformats.org/officeDocument/2006/relationships/slideLayout" Target="../slideLayouts/slideLayout247.xml"/><Relationship Id="rId55" Type="http://schemas.openxmlformats.org/officeDocument/2006/relationships/slideLayout" Target="../slideLayouts/slideLayout252.xml"/><Relationship Id="rId63" Type="http://schemas.openxmlformats.org/officeDocument/2006/relationships/slideLayout" Target="../slideLayouts/slideLayout260.xml"/><Relationship Id="rId7" Type="http://schemas.openxmlformats.org/officeDocument/2006/relationships/slideLayout" Target="../slideLayouts/slideLayout204.xml"/><Relationship Id="rId2" Type="http://schemas.openxmlformats.org/officeDocument/2006/relationships/slideLayout" Target="../slideLayouts/slideLayout199.xml"/><Relationship Id="rId16" Type="http://schemas.openxmlformats.org/officeDocument/2006/relationships/slideLayout" Target="../slideLayouts/slideLayout213.xml"/><Relationship Id="rId20" Type="http://schemas.openxmlformats.org/officeDocument/2006/relationships/slideLayout" Target="../slideLayouts/slideLayout217.xml"/><Relationship Id="rId29" Type="http://schemas.openxmlformats.org/officeDocument/2006/relationships/slideLayout" Target="../slideLayouts/slideLayout226.xml"/><Relationship Id="rId41" Type="http://schemas.openxmlformats.org/officeDocument/2006/relationships/slideLayout" Target="../slideLayouts/slideLayout238.xml"/><Relationship Id="rId54" Type="http://schemas.openxmlformats.org/officeDocument/2006/relationships/slideLayout" Target="../slideLayouts/slideLayout251.xml"/><Relationship Id="rId62" Type="http://schemas.openxmlformats.org/officeDocument/2006/relationships/slideLayout" Target="../slideLayouts/slideLayout259.xml"/><Relationship Id="rId1" Type="http://schemas.openxmlformats.org/officeDocument/2006/relationships/slideLayout" Target="../slideLayouts/slideLayout198.xml"/><Relationship Id="rId6" Type="http://schemas.openxmlformats.org/officeDocument/2006/relationships/slideLayout" Target="../slideLayouts/slideLayout203.xml"/><Relationship Id="rId11" Type="http://schemas.openxmlformats.org/officeDocument/2006/relationships/slideLayout" Target="../slideLayouts/slideLayout208.xml"/><Relationship Id="rId24" Type="http://schemas.openxmlformats.org/officeDocument/2006/relationships/slideLayout" Target="../slideLayouts/slideLayout221.xml"/><Relationship Id="rId32" Type="http://schemas.openxmlformats.org/officeDocument/2006/relationships/slideLayout" Target="../slideLayouts/slideLayout229.xml"/><Relationship Id="rId37" Type="http://schemas.openxmlformats.org/officeDocument/2006/relationships/slideLayout" Target="../slideLayouts/slideLayout234.xml"/><Relationship Id="rId40" Type="http://schemas.openxmlformats.org/officeDocument/2006/relationships/slideLayout" Target="../slideLayouts/slideLayout237.xml"/><Relationship Id="rId45" Type="http://schemas.openxmlformats.org/officeDocument/2006/relationships/slideLayout" Target="../slideLayouts/slideLayout242.xml"/><Relationship Id="rId53" Type="http://schemas.openxmlformats.org/officeDocument/2006/relationships/slideLayout" Target="../slideLayouts/slideLayout250.xml"/><Relationship Id="rId58" Type="http://schemas.openxmlformats.org/officeDocument/2006/relationships/slideLayout" Target="../slideLayouts/slideLayout255.xml"/><Relationship Id="rId66" Type="http://schemas.openxmlformats.org/officeDocument/2006/relationships/theme" Target="../theme/theme4.xml"/><Relationship Id="rId5" Type="http://schemas.openxmlformats.org/officeDocument/2006/relationships/slideLayout" Target="../slideLayouts/slideLayout202.xml"/><Relationship Id="rId15" Type="http://schemas.openxmlformats.org/officeDocument/2006/relationships/slideLayout" Target="../slideLayouts/slideLayout212.xml"/><Relationship Id="rId23" Type="http://schemas.openxmlformats.org/officeDocument/2006/relationships/slideLayout" Target="../slideLayouts/slideLayout220.xml"/><Relationship Id="rId28" Type="http://schemas.openxmlformats.org/officeDocument/2006/relationships/slideLayout" Target="../slideLayouts/slideLayout225.xml"/><Relationship Id="rId36" Type="http://schemas.openxmlformats.org/officeDocument/2006/relationships/slideLayout" Target="../slideLayouts/slideLayout233.xml"/><Relationship Id="rId49" Type="http://schemas.openxmlformats.org/officeDocument/2006/relationships/slideLayout" Target="../slideLayouts/slideLayout246.xml"/><Relationship Id="rId57" Type="http://schemas.openxmlformats.org/officeDocument/2006/relationships/slideLayout" Target="../slideLayouts/slideLayout254.xml"/><Relationship Id="rId61" Type="http://schemas.openxmlformats.org/officeDocument/2006/relationships/slideLayout" Target="../slideLayouts/slideLayout258.xml"/><Relationship Id="rId10" Type="http://schemas.openxmlformats.org/officeDocument/2006/relationships/slideLayout" Target="../slideLayouts/slideLayout207.xml"/><Relationship Id="rId19" Type="http://schemas.openxmlformats.org/officeDocument/2006/relationships/slideLayout" Target="../slideLayouts/slideLayout216.xml"/><Relationship Id="rId31" Type="http://schemas.openxmlformats.org/officeDocument/2006/relationships/slideLayout" Target="../slideLayouts/slideLayout228.xml"/><Relationship Id="rId44" Type="http://schemas.openxmlformats.org/officeDocument/2006/relationships/slideLayout" Target="../slideLayouts/slideLayout241.xml"/><Relationship Id="rId52" Type="http://schemas.openxmlformats.org/officeDocument/2006/relationships/slideLayout" Target="../slideLayouts/slideLayout249.xml"/><Relationship Id="rId60" Type="http://schemas.openxmlformats.org/officeDocument/2006/relationships/slideLayout" Target="../slideLayouts/slideLayout257.xml"/><Relationship Id="rId65" Type="http://schemas.openxmlformats.org/officeDocument/2006/relationships/slideLayout" Target="../slideLayouts/slideLayout262.xml"/><Relationship Id="rId4" Type="http://schemas.openxmlformats.org/officeDocument/2006/relationships/slideLayout" Target="../slideLayouts/slideLayout201.xml"/><Relationship Id="rId9" Type="http://schemas.openxmlformats.org/officeDocument/2006/relationships/slideLayout" Target="../slideLayouts/slideLayout206.xml"/><Relationship Id="rId14" Type="http://schemas.openxmlformats.org/officeDocument/2006/relationships/slideLayout" Target="../slideLayouts/slideLayout211.xml"/><Relationship Id="rId22" Type="http://schemas.openxmlformats.org/officeDocument/2006/relationships/slideLayout" Target="../slideLayouts/slideLayout219.xml"/><Relationship Id="rId27" Type="http://schemas.openxmlformats.org/officeDocument/2006/relationships/slideLayout" Target="../slideLayouts/slideLayout224.xml"/><Relationship Id="rId30" Type="http://schemas.openxmlformats.org/officeDocument/2006/relationships/slideLayout" Target="../slideLayouts/slideLayout227.xml"/><Relationship Id="rId35" Type="http://schemas.openxmlformats.org/officeDocument/2006/relationships/slideLayout" Target="../slideLayouts/slideLayout232.xml"/><Relationship Id="rId43" Type="http://schemas.openxmlformats.org/officeDocument/2006/relationships/slideLayout" Target="../slideLayouts/slideLayout240.xml"/><Relationship Id="rId48" Type="http://schemas.openxmlformats.org/officeDocument/2006/relationships/slideLayout" Target="../slideLayouts/slideLayout245.xml"/><Relationship Id="rId56" Type="http://schemas.openxmlformats.org/officeDocument/2006/relationships/slideLayout" Target="../slideLayouts/slideLayout253.xml"/><Relationship Id="rId64" Type="http://schemas.openxmlformats.org/officeDocument/2006/relationships/slideLayout" Target="../slideLayouts/slideLayout261.xml"/><Relationship Id="rId8" Type="http://schemas.openxmlformats.org/officeDocument/2006/relationships/slideLayout" Target="../slideLayouts/slideLayout205.xml"/><Relationship Id="rId51" Type="http://schemas.openxmlformats.org/officeDocument/2006/relationships/slideLayout" Target="../slideLayouts/slideLayout248.xml"/><Relationship Id="rId3" Type="http://schemas.openxmlformats.org/officeDocument/2006/relationships/slideLayout" Target="../slideLayouts/slideLayout200.xml"/><Relationship Id="rId12" Type="http://schemas.openxmlformats.org/officeDocument/2006/relationships/slideLayout" Target="../slideLayouts/slideLayout209.xml"/><Relationship Id="rId17" Type="http://schemas.openxmlformats.org/officeDocument/2006/relationships/slideLayout" Target="../slideLayouts/slideLayout214.xml"/><Relationship Id="rId25" Type="http://schemas.openxmlformats.org/officeDocument/2006/relationships/slideLayout" Target="../slideLayouts/slideLayout222.xml"/><Relationship Id="rId33" Type="http://schemas.openxmlformats.org/officeDocument/2006/relationships/slideLayout" Target="../slideLayouts/slideLayout230.xml"/><Relationship Id="rId38" Type="http://schemas.openxmlformats.org/officeDocument/2006/relationships/slideLayout" Target="../slideLayouts/slideLayout235.xml"/><Relationship Id="rId46" Type="http://schemas.openxmlformats.org/officeDocument/2006/relationships/slideLayout" Target="../slideLayouts/slideLayout243.xml"/><Relationship Id="rId59" Type="http://schemas.openxmlformats.org/officeDocument/2006/relationships/slideLayout" Target="../slideLayouts/slideLayout256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5.xml"/><Relationship Id="rId18" Type="http://schemas.openxmlformats.org/officeDocument/2006/relationships/slideLayout" Target="../slideLayouts/slideLayout280.xml"/><Relationship Id="rId26" Type="http://schemas.openxmlformats.org/officeDocument/2006/relationships/slideLayout" Target="../slideLayouts/slideLayout288.xml"/><Relationship Id="rId39" Type="http://schemas.openxmlformats.org/officeDocument/2006/relationships/slideLayout" Target="../slideLayouts/slideLayout301.xml"/><Relationship Id="rId21" Type="http://schemas.openxmlformats.org/officeDocument/2006/relationships/slideLayout" Target="../slideLayouts/slideLayout283.xml"/><Relationship Id="rId34" Type="http://schemas.openxmlformats.org/officeDocument/2006/relationships/slideLayout" Target="../slideLayouts/slideLayout296.xml"/><Relationship Id="rId42" Type="http://schemas.openxmlformats.org/officeDocument/2006/relationships/slideLayout" Target="../slideLayouts/slideLayout304.xml"/><Relationship Id="rId47" Type="http://schemas.openxmlformats.org/officeDocument/2006/relationships/slideLayout" Target="../slideLayouts/slideLayout309.xml"/><Relationship Id="rId50" Type="http://schemas.openxmlformats.org/officeDocument/2006/relationships/slideLayout" Target="../slideLayouts/slideLayout312.xml"/><Relationship Id="rId55" Type="http://schemas.openxmlformats.org/officeDocument/2006/relationships/slideLayout" Target="../slideLayouts/slideLayout317.xml"/><Relationship Id="rId63" Type="http://schemas.openxmlformats.org/officeDocument/2006/relationships/slideLayout" Target="../slideLayouts/slideLayout325.xml"/><Relationship Id="rId7" Type="http://schemas.openxmlformats.org/officeDocument/2006/relationships/slideLayout" Target="../slideLayouts/slideLayout269.xml"/><Relationship Id="rId2" Type="http://schemas.openxmlformats.org/officeDocument/2006/relationships/slideLayout" Target="../slideLayouts/slideLayout264.xml"/><Relationship Id="rId16" Type="http://schemas.openxmlformats.org/officeDocument/2006/relationships/slideLayout" Target="../slideLayouts/slideLayout278.xml"/><Relationship Id="rId20" Type="http://schemas.openxmlformats.org/officeDocument/2006/relationships/slideLayout" Target="../slideLayouts/slideLayout282.xml"/><Relationship Id="rId29" Type="http://schemas.openxmlformats.org/officeDocument/2006/relationships/slideLayout" Target="../slideLayouts/slideLayout291.xml"/><Relationship Id="rId41" Type="http://schemas.openxmlformats.org/officeDocument/2006/relationships/slideLayout" Target="../slideLayouts/slideLayout303.xml"/><Relationship Id="rId54" Type="http://schemas.openxmlformats.org/officeDocument/2006/relationships/slideLayout" Target="../slideLayouts/slideLayout316.xml"/><Relationship Id="rId62" Type="http://schemas.openxmlformats.org/officeDocument/2006/relationships/slideLayout" Target="../slideLayouts/slideLayout324.xml"/><Relationship Id="rId1" Type="http://schemas.openxmlformats.org/officeDocument/2006/relationships/slideLayout" Target="../slideLayouts/slideLayout263.xml"/><Relationship Id="rId6" Type="http://schemas.openxmlformats.org/officeDocument/2006/relationships/slideLayout" Target="../slideLayouts/slideLayout268.xml"/><Relationship Id="rId11" Type="http://schemas.openxmlformats.org/officeDocument/2006/relationships/slideLayout" Target="../slideLayouts/slideLayout273.xml"/><Relationship Id="rId24" Type="http://schemas.openxmlformats.org/officeDocument/2006/relationships/slideLayout" Target="../slideLayouts/slideLayout286.xml"/><Relationship Id="rId32" Type="http://schemas.openxmlformats.org/officeDocument/2006/relationships/slideLayout" Target="../slideLayouts/slideLayout294.xml"/><Relationship Id="rId37" Type="http://schemas.openxmlformats.org/officeDocument/2006/relationships/slideLayout" Target="../slideLayouts/slideLayout299.xml"/><Relationship Id="rId40" Type="http://schemas.openxmlformats.org/officeDocument/2006/relationships/slideLayout" Target="../slideLayouts/slideLayout302.xml"/><Relationship Id="rId45" Type="http://schemas.openxmlformats.org/officeDocument/2006/relationships/slideLayout" Target="../slideLayouts/slideLayout307.xml"/><Relationship Id="rId53" Type="http://schemas.openxmlformats.org/officeDocument/2006/relationships/slideLayout" Target="../slideLayouts/slideLayout315.xml"/><Relationship Id="rId58" Type="http://schemas.openxmlformats.org/officeDocument/2006/relationships/slideLayout" Target="../slideLayouts/slideLayout320.xml"/><Relationship Id="rId5" Type="http://schemas.openxmlformats.org/officeDocument/2006/relationships/slideLayout" Target="../slideLayouts/slideLayout267.xml"/><Relationship Id="rId15" Type="http://schemas.openxmlformats.org/officeDocument/2006/relationships/slideLayout" Target="../slideLayouts/slideLayout277.xml"/><Relationship Id="rId23" Type="http://schemas.openxmlformats.org/officeDocument/2006/relationships/slideLayout" Target="../slideLayouts/slideLayout285.xml"/><Relationship Id="rId28" Type="http://schemas.openxmlformats.org/officeDocument/2006/relationships/slideLayout" Target="../slideLayouts/slideLayout290.xml"/><Relationship Id="rId36" Type="http://schemas.openxmlformats.org/officeDocument/2006/relationships/slideLayout" Target="../slideLayouts/slideLayout298.xml"/><Relationship Id="rId49" Type="http://schemas.openxmlformats.org/officeDocument/2006/relationships/slideLayout" Target="../slideLayouts/slideLayout311.xml"/><Relationship Id="rId57" Type="http://schemas.openxmlformats.org/officeDocument/2006/relationships/slideLayout" Target="../slideLayouts/slideLayout319.xml"/><Relationship Id="rId61" Type="http://schemas.openxmlformats.org/officeDocument/2006/relationships/slideLayout" Target="../slideLayouts/slideLayout323.xml"/><Relationship Id="rId10" Type="http://schemas.openxmlformats.org/officeDocument/2006/relationships/slideLayout" Target="../slideLayouts/slideLayout272.xml"/><Relationship Id="rId19" Type="http://schemas.openxmlformats.org/officeDocument/2006/relationships/slideLayout" Target="../slideLayouts/slideLayout281.xml"/><Relationship Id="rId31" Type="http://schemas.openxmlformats.org/officeDocument/2006/relationships/slideLayout" Target="../slideLayouts/slideLayout293.xml"/><Relationship Id="rId44" Type="http://schemas.openxmlformats.org/officeDocument/2006/relationships/slideLayout" Target="../slideLayouts/slideLayout306.xml"/><Relationship Id="rId52" Type="http://schemas.openxmlformats.org/officeDocument/2006/relationships/slideLayout" Target="../slideLayouts/slideLayout314.xml"/><Relationship Id="rId60" Type="http://schemas.openxmlformats.org/officeDocument/2006/relationships/slideLayout" Target="../slideLayouts/slideLayout322.xml"/><Relationship Id="rId4" Type="http://schemas.openxmlformats.org/officeDocument/2006/relationships/slideLayout" Target="../slideLayouts/slideLayout266.xml"/><Relationship Id="rId9" Type="http://schemas.openxmlformats.org/officeDocument/2006/relationships/slideLayout" Target="../slideLayouts/slideLayout271.xml"/><Relationship Id="rId14" Type="http://schemas.openxmlformats.org/officeDocument/2006/relationships/slideLayout" Target="../slideLayouts/slideLayout276.xml"/><Relationship Id="rId22" Type="http://schemas.openxmlformats.org/officeDocument/2006/relationships/slideLayout" Target="../slideLayouts/slideLayout284.xml"/><Relationship Id="rId27" Type="http://schemas.openxmlformats.org/officeDocument/2006/relationships/slideLayout" Target="../slideLayouts/slideLayout289.xml"/><Relationship Id="rId30" Type="http://schemas.openxmlformats.org/officeDocument/2006/relationships/slideLayout" Target="../slideLayouts/slideLayout292.xml"/><Relationship Id="rId35" Type="http://schemas.openxmlformats.org/officeDocument/2006/relationships/slideLayout" Target="../slideLayouts/slideLayout297.xml"/><Relationship Id="rId43" Type="http://schemas.openxmlformats.org/officeDocument/2006/relationships/slideLayout" Target="../slideLayouts/slideLayout305.xml"/><Relationship Id="rId48" Type="http://schemas.openxmlformats.org/officeDocument/2006/relationships/slideLayout" Target="../slideLayouts/slideLayout310.xml"/><Relationship Id="rId56" Type="http://schemas.openxmlformats.org/officeDocument/2006/relationships/slideLayout" Target="../slideLayouts/slideLayout318.xml"/><Relationship Id="rId64" Type="http://schemas.openxmlformats.org/officeDocument/2006/relationships/theme" Target="../theme/theme5.xml"/><Relationship Id="rId8" Type="http://schemas.openxmlformats.org/officeDocument/2006/relationships/slideLayout" Target="../slideLayouts/slideLayout270.xml"/><Relationship Id="rId51" Type="http://schemas.openxmlformats.org/officeDocument/2006/relationships/slideLayout" Target="../slideLayouts/slideLayout313.xml"/><Relationship Id="rId3" Type="http://schemas.openxmlformats.org/officeDocument/2006/relationships/slideLayout" Target="../slideLayouts/slideLayout265.xml"/><Relationship Id="rId12" Type="http://schemas.openxmlformats.org/officeDocument/2006/relationships/slideLayout" Target="../slideLayouts/slideLayout274.xml"/><Relationship Id="rId17" Type="http://schemas.openxmlformats.org/officeDocument/2006/relationships/slideLayout" Target="../slideLayouts/slideLayout279.xml"/><Relationship Id="rId25" Type="http://schemas.openxmlformats.org/officeDocument/2006/relationships/slideLayout" Target="../slideLayouts/slideLayout287.xml"/><Relationship Id="rId33" Type="http://schemas.openxmlformats.org/officeDocument/2006/relationships/slideLayout" Target="../slideLayouts/slideLayout295.xml"/><Relationship Id="rId38" Type="http://schemas.openxmlformats.org/officeDocument/2006/relationships/slideLayout" Target="../slideLayouts/slideLayout300.xml"/><Relationship Id="rId46" Type="http://schemas.openxmlformats.org/officeDocument/2006/relationships/slideLayout" Target="../slideLayouts/slideLayout308.xml"/><Relationship Id="rId59" Type="http://schemas.openxmlformats.org/officeDocument/2006/relationships/slideLayout" Target="../slideLayouts/slideLayout321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38.xml"/><Relationship Id="rId18" Type="http://schemas.openxmlformats.org/officeDocument/2006/relationships/slideLayout" Target="../slideLayouts/slideLayout343.xml"/><Relationship Id="rId26" Type="http://schemas.openxmlformats.org/officeDocument/2006/relationships/slideLayout" Target="../slideLayouts/slideLayout351.xml"/><Relationship Id="rId39" Type="http://schemas.openxmlformats.org/officeDocument/2006/relationships/slideLayout" Target="../slideLayouts/slideLayout364.xml"/><Relationship Id="rId21" Type="http://schemas.openxmlformats.org/officeDocument/2006/relationships/slideLayout" Target="../slideLayouts/slideLayout346.xml"/><Relationship Id="rId34" Type="http://schemas.openxmlformats.org/officeDocument/2006/relationships/slideLayout" Target="../slideLayouts/slideLayout359.xml"/><Relationship Id="rId42" Type="http://schemas.openxmlformats.org/officeDocument/2006/relationships/slideLayout" Target="../slideLayouts/slideLayout367.xml"/><Relationship Id="rId47" Type="http://schemas.openxmlformats.org/officeDocument/2006/relationships/slideLayout" Target="../slideLayouts/slideLayout372.xml"/><Relationship Id="rId50" Type="http://schemas.openxmlformats.org/officeDocument/2006/relationships/slideLayout" Target="../slideLayouts/slideLayout375.xml"/><Relationship Id="rId55" Type="http://schemas.openxmlformats.org/officeDocument/2006/relationships/slideLayout" Target="../slideLayouts/slideLayout380.xml"/><Relationship Id="rId63" Type="http://schemas.openxmlformats.org/officeDocument/2006/relationships/slideLayout" Target="../slideLayouts/slideLayout388.xml"/><Relationship Id="rId7" Type="http://schemas.openxmlformats.org/officeDocument/2006/relationships/slideLayout" Target="../slideLayouts/slideLayout332.xml"/><Relationship Id="rId2" Type="http://schemas.openxmlformats.org/officeDocument/2006/relationships/slideLayout" Target="../slideLayouts/slideLayout327.xml"/><Relationship Id="rId16" Type="http://schemas.openxmlformats.org/officeDocument/2006/relationships/slideLayout" Target="../slideLayouts/slideLayout341.xml"/><Relationship Id="rId20" Type="http://schemas.openxmlformats.org/officeDocument/2006/relationships/slideLayout" Target="../slideLayouts/slideLayout345.xml"/><Relationship Id="rId29" Type="http://schemas.openxmlformats.org/officeDocument/2006/relationships/slideLayout" Target="../slideLayouts/slideLayout354.xml"/><Relationship Id="rId41" Type="http://schemas.openxmlformats.org/officeDocument/2006/relationships/slideLayout" Target="../slideLayouts/slideLayout366.xml"/><Relationship Id="rId54" Type="http://schemas.openxmlformats.org/officeDocument/2006/relationships/slideLayout" Target="../slideLayouts/slideLayout379.xml"/><Relationship Id="rId62" Type="http://schemas.openxmlformats.org/officeDocument/2006/relationships/slideLayout" Target="../slideLayouts/slideLayout387.xml"/><Relationship Id="rId1" Type="http://schemas.openxmlformats.org/officeDocument/2006/relationships/slideLayout" Target="../slideLayouts/slideLayout326.xml"/><Relationship Id="rId6" Type="http://schemas.openxmlformats.org/officeDocument/2006/relationships/slideLayout" Target="../slideLayouts/slideLayout331.xml"/><Relationship Id="rId11" Type="http://schemas.openxmlformats.org/officeDocument/2006/relationships/slideLayout" Target="../slideLayouts/slideLayout336.xml"/><Relationship Id="rId24" Type="http://schemas.openxmlformats.org/officeDocument/2006/relationships/slideLayout" Target="../slideLayouts/slideLayout349.xml"/><Relationship Id="rId32" Type="http://schemas.openxmlformats.org/officeDocument/2006/relationships/slideLayout" Target="../slideLayouts/slideLayout357.xml"/><Relationship Id="rId37" Type="http://schemas.openxmlformats.org/officeDocument/2006/relationships/slideLayout" Target="../slideLayouts/slideLayout362.xml"/><Relationship Id="rId40" Type="http://schemas.openxmlformats.org/officeDocument/2006/relationships/slideLayout" Target="../slideLayouts/slideLayout365.xml"/><Relationship Id="rId45" Type="http://schemas.openxmlformats.org/officeDocument/2006/relationships/slideLayout" Target="../slideLayouts/slideLayout370.xml"/><Relationship Id="rId53" Type="http://schemas.openxmlformats.org/officeDocument/2006/relationships/slideLayout" Target="../slideLayouts/slideLayout378.xml"/><Relationship Id="rId58" Type="http://schemas.openxmlformats.org/officeDocument/2006/relationships/slideLayout" Target="../slideLayouts/slideLayout383.xml"/><Relationship Id="rId5" Type="http://schemas.openxmlformats.org/officeDocument/2006/relationships/slideLayout" Target="../slideLayouts/slideLayout330.xml"/><Relationship Id="rId15" Type="http://schemas.openxmlformats.org/officeDocument/2006/relationships/slideLayout" Target="../slideLayouts/slideLayout340.xml"/><Relationship Id="rId23" Type="http://schemas.openxmlformats.org/officeDocument/2006/relationships/slideLayout" Target="../slideLayouts/slideLayout348.xml"/><Relationship Id="rId28" Type="http://schemas.openxmlformats.org/officeDocument/2006/relationships/slideLayout" Target="../slideLayouts/slideLayout353.xml"/><Relationship Id="rId36" Type="http://schemas.openxmlformats.org/officeDocument/2006/relationships/slideLayout" Target="../slideLayouts/slideLayout361.xml"/><Relationship Id="rId49" Type="http://schemas.openxmlformats.org/officeDocument/2006/relationships/slideLayout" Target="../slideLayouts/slideLayout374.xml"/><Relationship Id="rId57" Type="http://schemas.openxmlformats.org/officeDocument/2006/relationships/slideLayout" Target="../slideLayouts/slideLayout382.xml"/><Relationship Id="rId61" Type="http://schemas.openxmlformats.org/officeDocument/2006/relationships/slideLayout" Target="../slideLayouts/slideLayout386.xml"/><Relationship Id="rId10" Type="http://schemas.openxmlformats.org/officeDocument/2006/relationships/slideLayout" Target="../slideLayouts/slideLayout335.xml"/><Relationship Id="rId19" Type="http://schemas.openxmlformats.org/officeDocument/2006/relationships/slideLayout" Target="../slideLayouts/slideLayout344.xml"/><Relationship Id="rId31" Type="http://schemas.openxmlformats.org/officeDocument/2006/relationships/slideLayout" Target="../slideLayouts/slideLayout356.xml"/><Relationship Id="rId44" Type="http://schemas.openxmlformats.org/officeDocument/2006/relationships/slideLayout" Target="../slideLayouts/slideLayout369.xml"/><Relationship Id="rId52" Type="http://schemas.openxmlformats.org/officeDocument/2006/relationships/slideLayout" Target="../slideLayouts/slideLayout377.xml"/><Relationship Id="rId60" Type="http://schemas.openxmlformats.org/officeDocument/2006/relationships/slideLayout" Target="../slideLayouts/slideLayout385.xml"/><Relationship Id="rId65" Type="http://schemas.openxmlformats.org/officeDocument/2006/relationships/theme" Target="../theme/theme6.xml"/><Relationship Id="rId4" Type="http://schemas.openxmlformats.org/officeDocument/2006/relationships/slideLayout" Target="../slideLayouts/slideLayout329.xml"/><Relationship Id="rId9" Type="http://schemas.openxmlformats.org/officeDocument/2006/relationships/slideLayout" Target="../slideLayouts/slideLayout334.xml"/><Relationship Id="rId14" Type="http://schemas.openxmlformats.org/officeDocument/2006/relationships/slideLayout" Target="../slideLayouts/slideLayout339.xml"/><Relationship Id="rId22" Type="http://schemas.openxmlformats.org/officeDocument/2006/relationships/slideLayout" Target="../slideLayouts/slideLayout347.xml"/><Relationship Id="rId27" Type="http://schemas.openxmlformats.org/officeDocument/2006/relationships/slideLayout" Target="../slideLayouts/slideLayout352.xml"/><Relationship Id="rId30" Type="http://schemas.openxmlformats.org/officeDocument/2006/relationships/slideLayout" Target="../slideLayouts/slideLayout355.xml"/><Relationship Id="rId35" Type="http://schemas.openxmlformats.org/officeDocument/2006/relationships/slideLayout" Target="../slideLayouts/slideLayout360.xml"/><Relationship Id="rId43" Type="http://schemas.openxmlformats.org/officeDocument/2006/relationships/slideLayout" Target="../slideLayouts/slideLayout368.xml"/><Relationship Id="rId48" Type="http://schemas.openxmlformats.org/officeDocument/2006/relationships/slideLayout" Target="../slideLayouts/slideLayout373.xml"/><Relationship Id="rId56" Type="http://schemas.openxmlformats.org/officeDocument/2006/relationships/slideLayout" Target="../slideLayouts/slideLayout381.xml"/><Relationship Id="rId64" Type="http://schemas.openxmlformats.org/officeDocument/2006/relationships/slideLayout" Target="../slideLayouts/slideLayout389.xml"/><Relationship Id="rId8" Type="http://schemas.openxmlformats.org/officeDocument/2006/relationships/slideLayout" Target="../slideLayouts/slideLayout333.xml"/><Relationship Id="rId51" Type="http://schemas.openxmlformats.org/officeDocument/2006/relationships/slideLayout" Target="../slideLayouts/slideLayout376.xml"/><Relationship Id="rId3" Type="http://schemas.openxmlformats.org/officeDocument/2006/relationships/slideLayout" Target="../slideLayouts/slideLayout328.xml"/><Relationship Id="rId12" Type="http://schemas.openxmlformats.org/officeDocument/2006/relationships/slideLayout" Target="../slideLayouts/slideLayout337.xml"/><Relationship Id="rId17" Type="http://schemas.openxmlformats.org/officeDocument/2006/relationships/slideLayout" Target="../slideLayouts/slideLayout342.xml"/><Relationship Id="rId25" Type="http://schemas.openxmlformats.org/officeDocument/2006/relationships/slideLayout" Target="../slideLayouts/slideLayout350.xml"/><Relationship Id="rId33" Type="http://schemas.openxmlformats.org/officeDocument/2006/relationships/slideLayout" Target="../slideLayouts/slideLayout358.xml"/><Relationship Id="rId38" Type="http://schemas.openxmlformats.org/officeDocument/2006/relationships/slideLayout" Target="../slideLayouts/slideLayout363.xml"/><Relationship Id="rId46" Type="http://schemas.openxmlformats.org/officeDocument/2006/relationships/slideLayout" Target="../slideLayouts/slideLayout371.xml"/><Relationship Id="rId59" Type="http://schemas.openxmlformats.org/officeDocument/2006/relationships/slideLayout" Target="../slideLayouts/slideLayout384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02.xml"/><Relationship Id="rId18" Type="http://schemas.openxmlformats.org/officeDocument/2006/relationships/slideLayout" Target="../slideLayouts/slideLayout407.xml"/><Relationship Id="rId26" Type="http://schemas.openxmlformats.org/officeDocument/2006/relationships/slideLayout" Target="../slideLayouts/slideLayout415.xml"/><Relationship Id="rId39" Type="http://schemas.openxmlformats.org/officeDocument/2006/relationships/slideLayout" Target="../slideLayouts/slideLayout428.xml"/><Relationship Id="rId21" Type="http://schemas.openxmlformats.org/officeDocument/2006/relationships/slideLayout" Target="../slideLayouts/slideLayout410.xml"/><Relationship Id="rId34" Type="http://schemas.openxmlformats.org/officeDocument/2006/relationships/slideLayout" Target="../slideLayouts/slideLayout423.xml"/><Relationship Id="rId42" Type="http://schemas.openxmlformats.org/officeDocument/2006/relationships/slideLayout" Target="../slideLayouts/slideLayout431.xml"/><Relationship Id="rId47" Type="http://schemas.openxmlformats.org/officeDocument/2006/relationships/slideLayout" Target="../slideLayouts/slideLayout436.xml"/><Relationship Id="rId50" Type="http://schemas.openxmlformats.org/officeDocument/2006/relationships/slideLayout" Target="../slideLayouts/slideLayout439.xml"/><Relationship Id="rId55" Type="http://schemas.openxmlformats.org/officeDocument/2006/relationships/slideLayout" Target="../slideLayouts/slideLayout444.xml"/><Relationship Id="rId63" Type="http://schemas.openxmlformats.org/officeDocument/2006/relationships/slideLayout" Target="../slideLayouts/slideLayout452.xml"/><Relationship Id="rId68" Type="http://schemas.openxmlformats.org/officeDocument/2006/relationships/slideLayout" Target="../slideLayouts/slideLayout457.xml"/><Relationship Id="rId7" Type="http://schemas.openxmlformats.org/officeDocument/2006/relationships/slideLayout" Target="../slideLayouts/slideLayout396.xml"/><Relationship Id="rId71" Type="http://schemas.openxmlformats.org/officeDocument/2006/relationships/slideLayout" Target="../slideLayouts/slideLayout460.xml"/><Relationship Id="rId2" Type="http://schemas.openxmlformats.org/officeDocument/2006/relationships/slideLayout" Target="../slideLayouts/slideLayout391.xml"/><Relationship Id="rId16" Type="http://schemas.openxmlformats.org/officeDocument/2006/relationships/slideLayout" Target="../slideLayouts/slideLayout405.xml"/><Relationship Id="rId29" Type="http://schemas.openxmlformats.org/officeDocument/2006/relationships/slideLayout" Target="../slideLayouts/slideLayout418.xml"/><Relationship Id="rId11" Type="http://schemas.openxmlformats.org/officeDocument/2006/relationships/slideLayout" Target="../slideLayouts/slideLayout400.xml"/><Relationship Id="rId24" Type="http://schemas.openxmlformats.org/officeDocument/2006/relationships/slideLayout" Target="../slideLayouts/slideLayout413.xml"/><Relationship Id="rId32" Type="http://schemas.openxmlformats.org/officeDocument/2006/relationships/slideLayout" Target="../slideLayouts/slideLayout421.xml"/><Relationship Id="rId37" Type="http://schemas.openxmlformats.org/officeDocument/2006/relationships/slideLayout" Target="../slideLayouts/slideLayout426.xml"/><Relationship Id="rId40" Type="http://schemas.openxmlformats.org/officeDocument/2006/relationships/slideLayout" Target="../slideLayouts/slideLayout429.xml"/><Relationship Id="rId45" Type="http://schemas.openxmlformats.org/officeDocument/2006/relationships/slideLayout" Target="../slideLayouts/slideLayout434.xml"/><Relationship Id="rId53" Type="http://schemas.openxmlformats.org/officeDocument/2006/relationships/slideLayout" Target="../slideLayouts/slideLayout442.xml"/><Relationship Id="rId58" Type="http://schemas.openxmlformats.org/officeDocument/2006/relationships/slideLayout" Target="../slideLayouts/slideLayout447.xml"/><Relationship Id="rId66" Type="http://schemas.openxmlformats.org/officeDocument/2006/relationships/slideLayout" Target="../slideLayouts/slideLayout455.xml"/><Relationship Id="rId74" Type="http://schemas.openxmlformats.org/officeDocument/2006/relationships/slideLayout" Target="../slideLayouts/slideLayout463.xml"/><Relationship Id="rId5" Type="http://schemas.openxmlformats.org/officeDocument/2006/relationships/slideLayout" Target="../slideLayouts/slideLayout394.xml"/><Relationship Id="rId15" Type="http://schemas.openxmlformats.org/officeDocument/2006/relationships/slideLayout" Target="../slideLayouts/slideLayout404.xml"/><Relationship Id="rId23" Type="http://schemas.openxmlformats.org/officeDocument/2006/relationships/slideLayout" Target="../slideLayouts/slideLayout412.xml"/><Relationship Id="rId28" Type="http://schemas.openxmlformats.org/officeDocument/2006/relationships/slideLayout" Target="../slideLayouts/slideLayout417.xml"/><Relationship Id="rId36" Type="http://schemas.openxmlformats.org/officeDocument/2006/relationships/slideLayout" Target="../slideLayouts/slideLayout425.xml"/><Relationship Id="rId49" Type="http://schemas.openxmlformats.org/officeDocument/2006/relationships/slideLayout" Target="../slideLayouts/slideLayout438.xml"/><Relationship Id="rId57" Type="http://schemas.openxmlformats.org/officeDocument/2006/relationships/slideLayout" Target="../slideLayouts/slideLayout446.xml"/><Relationship Id="rId61" Type="http://schemas.openxmlformats.org/officeDocument/2006/relationships/slideLayout" Target="../slideLayouts/slideLayout450.xml"/><Relationship Id="rId10" Type="http://schemas.openxmlformats.org/officeDocument/2006/relationships/slideLayout" Target="../slideLayouts/slideLayout399.xml"/><Relationship Id="rId19" Type="http://schemas.openxmlformats.org/officeDocument/2006/relationships/slideLayout" Target="../slideLayouts/slideLayout408.xml"/><Relationship Id="rId31" Type="http://schemas.openxmlformats.org/officeDocument/2006/relationships/slideLayout" Target="../slideLayouts/slideLayout420.xml"/><Relationship Id="rId44" Type="http://schemas.openxmlformats.org/officeDocument/2006/relationships/slideLayout" Target="../slideLayouts/slideLayout433.xml"/><Relationship Id="rId52" Type="http://schemas.openxmlformats.org/officeDocument/2006/relationships/slideLayout" Target="../slideLayouts/slideLayout441.xml"/><Relationship Id="rId60" Type="http://schemas.openxmlformats.org/officeDocument/2006/relationships/slideLayout" Target="../slideLayouts/slideLayout449.xml"/><Relationship Id="rId65" Type="http://schemas.openxmlformats.org/officeDocument/2006/relationships/slideLayout" Target="../slideLayouts/slideLayout454.xml"/><Relationship Id="rId73" Type="http://schemas.openxmlformats.org/officeDocument/2006/relationships/slideLayout" Target="../slideLayouts/slideLayout462.xml"/><Relationship Id="rId4" Type="http://schemas.openxmlformats.org/officeDocument/2006/relationships/slideLayout" Target="../slideLayouts/slideLayout393.xml"/><Relationship Id="rId9" Type="http://schemas.openxmlformats.org/officeDocument/2006/relationships/slideLayout" Target="../slideLayouts/slideLayout398.xml"/><Relationship Id="rId14" Type="http://schemas.openxmlformats.org/officeDocument/2006/relationships/slideLayout" Target="../slideLayouts/slideLayout403.xml"/><Relationship Id="rId22" Type="http://schemas.openxmlformats.org/officeDocument/2006/relationships/slideLayout" Target="../slideLayouts/slideLayout411.xml"/><Relationship Id="rId27" Type="http://schemas.openxmlformats.org/officeDocument/2006/relationships/slideLayout" Target="../slideLayouts/slideLayout416.xml"/><Relationship Id="rId30" Type="http://schemas.openxmlformats.org/officeDocument/2006/relationships/slideLayout" Target="../slideLayouts/slideLayout419.xml"/><Relationship Id="rId35" Type="http://schemas.openxmlformats.org/officeDocument/2006/relationships/slideLayout" Target="../slideLayouts/slideLayout424.xml"/><Relationship Id="rId43" Type="http://schemas.openxmlformats.org/officeDocument/2006/relationships/slideLayout" Target="../slideLayouts/slideLayout432.xml"/><Relationship Id="rId48" Type="http://schemas.openxmlformats.org/officeDocument/2006/relationships/slideLayout" Target="../slideLayouts/slideLayout437.xml"/><Relationship Id="rId56" Type="http://schemas.openxmlformats.org/officeDocument/2006/relationships/slideLayout" Target="../slideLayouts/slideLayout445.xml"/><Relationship Id="rId64" Type="http://schemas.openxmlformats.org/officeDocument/2006/relationships/slideLayout" Target="../slideLayouts/slideLayout453.xml"/><Relationship Id="rId69" Type="http://schemas.openxmlformats.org/officeDocument/2006/relationships/slideLayout" Target="../slideLayouts/slideLayout458.xml"/><Relationship Id="rId8" Type="http://schemas.openxmlformats.org/officeDocument/2006/relationships/slideLayout" Target="../slideLayouts/slideLayout397.xml"/><Relationship Id="rId51" Type="http://schemas.openxmlformats.org/officeDocument/2006/relationships/slideLayout" Target="../slideLayouts/slideLayout440.xml"/><Relationship Id="rId72" Type="http://schemas.openxmlformats.org/officeDocument/2006/relationships/slideLayout" Target="../slideLayouts/slideLayout461.xml"/><Relationship Id="rId3" Type="http://schemas.openxmlformats.org/officeDocument/2006/relationships/slideLayout" Target="../slideLayouts/slideLayout392.xml"/><Relationship Id="rId12" Type="http://schemas.openxmlformats.org/officeDocument/2006/relationships/slideLayout" Target="../slideLayouts/slideLayout401.xml"/><Relationship Id="rId17" Type="http://schemas.openxmlformats.org/officeDocument/2006/relationships/slideLayout" Target="../slideLayouts/slideLayout406.xml"/><Relationship Id="rId25" Type="http://schemas.openxmlformats.org/officeDocument/2006/relationships/slideLayout" Target="../slideLayouts/slideLayout414.xml"/><Relationship Id="rId33" Type="http://schemas.openxmlformats.org/officeDocument/2006/relationships/slideLayout" Target="../slideLayouts/slideLayout422.xml"/><Relationship Id="rId38" Type="http://schemas.openxmlformats.org/officeDocument/2006/relationships/slideLayout" Target="../slideLayouts/slideLayout427.xml"/><Relationship Id="rId46" Type="http://schemas.openxmlformats.org/officeDocument/2006/relationships/slideLayout" Target="../slideLayouts/slideLayout435.xml"/><Relationship Id="rId59" Type="http://schemas.openxmlformats.org/officeDocument/2006/relationships/slideLayout" Target="../slideLayouts/slideLayout448.xml"/><Relationship Id="rId67" Type="http://schemas.openxmlformats.org/officeDocument/2006/relationships/slideLayout" Target="../slideLayouts/slideLayout456.xml"/><Relationship Id="rId20" Type="http://schemas.openxmlformats.org/officeDocument/2006/relationships/slideLayout" Target="../slideLayouts/slideLayout409.xml"/><Relationship Id="rId41" Type="http://schemas.openxmlformats.org/officeDocument/2006/relationships/slideLayout" Target="../slideLayouts/slideLayout430.xml"/><Relationship Id="rId54" Type="http://schemas.openxmlformats.org/officeDocument/2006/relationships/slideLayout" Target="../slideLayouts/slideLayout443.xml"/><Relationship Id="rId62" Type="http://schemas.openxmlformats.org/officeDocument/2006/relationships/slideLayout" Target="../slideLayouts/slideLayout451.xml"/><Relationship Id="rId70" Type="http://schemas.openxmlformats.org/officeDocument/2006/relationships/slideLayout" Target="../slideLayouts/slideLayout459.xml"/><Relationship Id="rId75" Type="http://schemas.openxmlformats.org/officeDocument/2006/relationships/theme" Target="../theme/theme7.xml"/><Relationship Id="rId1" Type="http://schemas.openxmlformats.org/officeDocument/2006/relationships/slideLayout" Target="../slideLayouts/slideLayout390.xml"/><Relationship Id="rId6" Type="http://schemas.openxmlformats.org/officeDocument/2006/relationships/slideLayout" Target="../slideLayouts/slideLayout395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76.xml"/><Relationship Id="rId18" Type="http://schemas.openxmlformats.org/officeDocument/2006/relationships/slideLayout" Target="../slideLayouts/slideLayout481.xml"/><Relationship Id="rId26" Type="http://schemas.openxmlformats.org/officeDocument/2006/relationships/slideLayout" Target="../slideLayouts/slideLayout489.xml"/><Relationship Id="rId39" Type="http://schemas.openxmlformats.org/officeDocument/2006/relationships/slideLayout" Target="../slideLayouts/slideLayout502.xml"/><Relationship Id="rId21" Type="http://schemas.openxmlformats.org/officeDocument/2006/relationships/slideLayout" Target="../slideLayouts/slideLayout484.xml"/><Relationship Id="rId34" Type="http://schemas.openxmlformats.org/officeDocument/2006/relationships/slideLayout" Target="../slideLayouts/slideLayout497.xml"/><Relationship Id="rId42" Type="http://schemas.openxmlformats.org/officeDocument/2006/relationships/slideLayout" Target="../slideLayouts/slideLayout505.xml"/><Relationship Id="rId47" Type="http://schemas.openxmlformats.org/officeDocument/2006/relationships/slideLayout" Target="../slideLayouts/slideLayout510.xml"/><Relationship Id="rId50" Type="http://schemas.openxmlformats.org/officeDocument/2006/relationships/slideLayout" Target="../slideLayouts/slideLayout513.xml"/><Relationship Id="rId55" Type="http://schemas.openxmlformats.org/officeDocument/2006/relationships/slideLayout" Target="../slideLayouts/slideLayout518.xml"/><Relationship Id="rId63" Type="http://schemas.openxmlformats.org/officeDocument/2006/relationships/slideLayout" Target="../slideLayouts/slideLayout526.xml"/><Relationship Id="rId68" Type="http://schemas.openxmlformats.org/officeDocument/2006/relationships/slideLayout" Target="../slideLayouts/slideLayout531.xml"/><Relationship Id="rId7" Type="http://schemas.openxmlformats.org/officeDocument/2006/relationships/slideLayout" Target="../slideLayouts/slideLayout470.xml"/><Relationship Id="rId2" Type="http://schemas.openxmlformats.org/officeDocument/2006/relationships/slideLayout" Target="../slideLayouts/slideLayout465.xml"/><Relationship Id="rId16" Type="http://schemas.openxmlformats.org/officeDocument/2006/relationships/slideLayout" Target="../slideLayouts/slideLayout479.xml"/><Relationship Id="rId29" Type="http://schemas.openxmlformats.org/officeDocument/2006/relationships/slideLayout" Target="../slideLayouts/slideLayout492.xml"/><Relationship Id="rId1" Type="http://schemas.openxmlformats.org/officeDocument/2006/relationships/slideLayout" Target="../slideLayouts/slideLayout464.xml"/><Relationship Id="rId6" Type="http://schemas.openxmlformats.org/officeDocument/2006/relationships/slideLayout" Target="../slideLayouts/slideLayout469.xml"/><Relationship Id="rId11" Type="http://schemas.openxmlformats.org/officeDocument/2006/relationships/slideLayout" Target="../slideLayouts/slideLayout474.xml"/><Relationship Id="rId24" Type="http://schemas.openxmlformats.org/officeDocument/2006/relationships/slideLayout" Target="../slideLayouts/slideLayout487.xml"/><Relationship Id="rId32" Type="http://schemas.openxmlformats.org/officeDocument/2006/relationships/slideLayout" Target="../slideLayouts/slideLayout495.xml"/><Relationship Id="rId37" Type="http://schemas.openxmlformats.org/officeDocument/2006/relationships/slideLayout" Target="../slideLayouts/slideLayout500.xml"/><Relationship Id="rId40" Type="http://schemas.openxmlformats.org/officeDocument/2006/relationships/slideLayout" Target="../slideLayouts/slideLayout503.xml"/><Relationship Id="rId45" Type="http://schemas.openxmlformats.org/officeDocument/2006/relationships/slideLayout" Target="../slideLayouts/slideLayout508.xml"/><Relationship Id="rId53" Type="http://schemas.openxmlformats.org/officeDocument/2006/relationships/slideLayout" Target="../slideLayouts/slideLayout516.xml"/><Relationship Id="rId58" Type="http://schemas.openxmlformats.org/officeDocument/2006/relationships/slideLayout" Target="../slideLayouts/slideLayout521.xml"/><Relationship Id="rId66" Type="http://schemas.openxmlformats.org/officeDocument/2006/relationships/slideLayout" Target="../slideLayouts/slideLayout529.xml"/><Relationship Id="rId5" Type="http://schemas.openxmlformats.org/officeDocument/2006/relationships/slideLayout" Target="../slideLayouts/slideLayout468.xml"/><Relationship Id="rId15" Type="http://schemas.openxmlformats.org/officeDocument/2006/relationships/slideLayout" Target="../slideLayouts/slideLayout478.xml"/><Relationship Id="rId23" Type="http://schemas.openxmlformats.org/officeDocument/2006/relationships/slideLayout" Target="../slideLayouts/slideLayout486.xml"/><Relationship Id="rId28" Type="http://schemas.openxmlformats.org/officeDocument/2006/relationships/slideLayout" Target="../slideLayouts/slideLayout491.xml"/><Relationship Id="rId36" Type="http://schemas.openxmlformats.org/officeDocument/2006/relationships/slideLayout" Target="../slideLayouts/slideLayout499.xml"/><Relationship Id="rId49" Type="http://schemas.openxmlformats.org/officeDocument/2006/relationships/slideLayout" Target="../slideLayouts/slideLayout512.xml"/><Relationship Id="rId57" Type="http://schemas.openxmlformats.org/officeDocument/2006/relationships/slideLayout" Target="../slideLayouts/slideLayout520.xml"/><Relationship Id="rId61" Type="http://schemas.openxmlformats.org/officeDocument/2006/relationships/slideLayout" Target="../slideLayouts/slideLayout524.xml"/><Relationship Id="rId10" Type="http://schemas.openxmlformats.org/officeDocument/2006/relationships/slideLayout" Target="../slideLayouts/slideLayout473.xml"/><Relationship Id="rId19" Type="http://schemas.openxmlformats.org/officeDocument/2006/relationships/slideLayout" Target="../slideLayouts/slideLayout482.xml"/><Relationship Id="rId31" Type="http://schemas.openxmlformats.org/officeDocument/2006/relationships/slideLayout" Target="../slideLayouts/slideLayout494.xml"/><Relationship Id="rId44" Type="http://schemas.openxmlformats.org/officeDocument/2006/relationships/slideLayout" Target="../slideLayouts/slideLayout507.xml"/><Relationship Id="rId52" Type="http://schemas.openxmlformats.org/officeDocument/2006/relationships/slideLayout" Target="../slideLayouts/slideLayout515.xml"/><Relationship Id="rId60" Type="http://schemas.openxmlformats.org/officeDocument/2006/relationships/slideLayout" Target="../slideLayouts/slideLayout523.xml"/><Relationship Id="rId65" Type="http://schemas.openxmlformats.org/officeDocument/2006/relationships/slideLayout" Target="../slideLayouts/slideLayout528.xml"/><Relationship Id="rId4" Type="http://schemas.openxmlformats.org/officeDocument/2006/relationships/slideLayout" Target="../slideLayouts/slideLayout467.xml"/><Relationship Id="rId9" Type="http://schemas.openxmlformats.org/officeDocument/2006/relationships/slideLayout" Target="../slideLayouts/slideLayout472.xml"/><Relationship Id="rId14" Type="http://schemas.openxmlformats.org/officeDocument/2006/relationships/slideLayout" Target="../slideLayouts/slideLayout477.xml"/><Relationship Id="rId22" Type="http://schemas.openxmlformats.org/officeDocument/2006/relationships/slideLayout" Target="../slideLayouts/slideLayout485.xml"/><Relationship Id="rId27" Type="http://schemas.openxmlformats.org/officeDocument/2006/relationships/slideLayout" Target="../slideLayouts/slideLayout490.xml"/><Relationship Id="rId30" Type="http://schemas.openxmlformats.org/officeDocument/2006/relationships/slideLayout" Target="../slideLayouts/slideLayout493.xml"/><Relationship Id="rId35" Type="http://schemas.openxmlformats.org/officeDocument/2006/relationships/slideLayout" Target="../slideLayouts/slideLayout498.xml"/><Relationship Id="rId43" Type="http://schemas.openxmlformats.org/officeDocument/2006/relationships/slideLayout" Target="../slideLayouts/slideLayout506.xml"/><Relationship Id="rId48" Type="http://schemas.openxmlformats.org/officeDocument/2006/relationships/slideLayout" Target="../slideLayouts/slideLayout511.xml"/><Relationship Id="rId56" Type="http://schemas.openxmlformats.org/officeDocument/2006/relationships/slideLayout" Target="../slideLayouts/slideLayout519.xml"/><Relationship Id="rId64" Type="http://schemas.openxmlformats.org/officeDocument/2006/relationships/slideLayout" Target="../slideLayouts/slideLayout527.xml"/><Relationship Id="rId69" Type="http://schemas.openxmlformats.org/officeDocument/2006/relationships/theme" Target="../theme/theme8.xml"/><Relationship Id="rId8" Type="http://schemas.openxmlformats.org/officeDocument/2006/relationships/slideLayout" Target="../slideLayouts/slideLayout471.xml"/><Relationship Id="rId51" Type="http://schemas.openxmlformats.org/officeDocument/2006/relationships/slideLayout" Target="../slideLayouts/slideLayout514.xml"/><Relationship Id="rId3" Type="http://schemas.openxmlformats.org/officeDocument/2006/relationships/slideLayout" Target="../slideLayouts/slideLayout466.xml"/><Relationship Id="rId12" Type="http://schemas.openxmlformats.org/officeDocument/2006/relationships/slideLayout" Target="../slideLayouts/slideLayout475.xml"/><Relationship Id="rId17" Type="http://schemas.openxmlformats.org/officeDocument/2006/relationships/slideLayout" Target="../slideLayouts/slideLayout480.xml"/><Relationship Id="rId25" Type="http://schemas.openxmlformats.org/officeDocument/2006/relationships/slideLayout" Target="../slideLayouts/slideLayout488.xml"/><Relationship Id="rId33" Type="http://schemas.openxmlformats.org/officeDocument/2006/relationships/slideLayout" Target="../slideLayouts/slideLayout496.xml"/><Relationship Id="rId38" Type="http://schemas.openxmlformats.org/officeDocument/2006/relationships/slideLayout" Target="../slideLayouts/slideLayout501.xml"/><Relationship Id="rId46" Type="http://schemas.openxmlformats.org/officeDocument/2006/relationships/slideLayout" Target="../slideLayouts/slideLayout509.xml"/><Relationship Id="rId59" Type="http://schemas.openxmlformats.org/officeDocument/2006/relationships/slideLayout" Target="../slideLayouts/slideLayout522.xml"/><Relationship Id="rId67" Type="http://schemas.openxmlformats.org/officeDocument/2006/relationships/slideLayout" Target="../slideLayouts/slideLayout530.xml"/><Relationship Id="rId20" Type="http://schemas.openxmlformats.org/officeDocument/2006/relationships/slideLayout" Target="../slideLayouts/slideLayout483.xml"/><Relationship Id="rId41" Type="http://schemas.openxmlformats.org/officeDocument/2006/relationships/slideLayout" Target="../slideLayouts/slideLayout504.xml"/><Relationship Id="rId54" Type="http://schemas.openxmlformats.org/officeDocument/2006/relationships/slideLayout" Target="../slideLayouts/slideLayout517.xml"/><Relationship Id="rId62" Type="http://schemas.openxmlformats.org/officeDocument/2006/relationships/slideLayout" Target="../slideLayouts/slideLayout525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44.xml"/><Relationship Id="rId18" Type="http://schemas.openxmlformats.org/officeDocument/2006/relationships/slideLayout" Target="../slideLayouts/slideLayout549.xml"/><Relationship Id="rId26" Type="http://schemas.openxmlformats.org/officeDocument/2006/relationships/slideLayout" Target="../slideLayouts/slideLayout557.xml"/><Relationship Id="rId39" Type="http://schemas.openxmlformats.org/officeDocument/2006/relationships/slideLayout" Target="../slideLayouts/slideLayout570.xml"/><Relationship Id="rId21" Type="http://schemas.openxmlformats.org/officeDocument/2006/relationships/slideLayout" Target="../slideLayouts/slideLayout552.xml"/><Relationship Id="rId34" Type="http://schemas.openxmlformats.org/officeDocument/2006/relationships/slideLayout" Target="../slideLayouts/slideLayout565.xml"/><Relationship Id="rId42" Type="http://schemas.openxmlformats.org/officeDocument/2006/relationships/slideLayout" Target="../slideLayouts/slideLayout573.xml"/><Relationship Id="rId47" Type="http://schemas.openxmlformats.org/officeDocument/2006/relationships/slideLayout" Target="../slideLayouts/slideLayout578.xml"/><Relationship Id="rId50" Type="http://schemas.openxmlformats.org/officeDocument/2006/relationships/slideLayout" Target="../slideLayouts/slideLayout581.xml"/><Relationship Id="rId55" Type="http://schemas.openxmlformats.org/officeDocument/2006/relationships/slideLayout" Target="../slideLayouts/slideLayout586.xml"/><Relationship Id="rId63" Type="http://schemas.openxmlformats.org/officeDocument/2006/relationships/slideLayout" Target="../slideLayouts/slideLayout594.xml"/><Relationship Id="rId68" Type="http://schemas.openxmlformats.org/officeDocument/2006/relationships/slideLayout" Target="../slideLayouts/slideLayout599.xml"/><Relationship Id="rId7" Type="http://schemas.openxmlformats.org/officeDocument/2006/relationships/slideLayout" Target="../slideLayouts/slideLayout538.xml"/><Relationship Id="rId2" Type="http://schemas.openxmlformats.org/officeDocument/2006/relationships/slideLayout" Target="../slideLayouts/slideLayout533.xml"/><Relationship Id="rId16" Type="http://schemas.openxmlformats.org/officeDocument/2006/relationships/slideLayout" Target="../slideLayouts/slideLayout547.xml"/><Relationship Id="rId29" Type="http://schemas.openxmlformats.org/officeDocument/2006/relationships/slideLayout" Target="../slideLayouts/slideLayout560.xml"/><Relationship Id="rId1" Type="http://schemas.openxmlformats.org/officeDocument/2006/relationships/slideLayout" Target="../slideLayouts/slideLayout532.xml"/><Relationship Id="rId6" Type="http://schemas.openxmlformats.org/officeDocument/2006/relationships/slideLayout" Target="../slideLayouts/slideLayout537.xml"/><Relationship Id="rId11" Type="http://schemas.openxmlformats.org/officeDocument/2006/relationships/slideLayout" Target="../slideLayouts/slideLayout542.xml"/><Relationship Id="rId24" Type="http://schemas.openxmlformats.org/officeDocument/2006/relationships/slideLayout" Target="../slideLayouts/slideLayout555.xml"/><Relationship Id="rId32" Type="http://schemas.openxmlformats.org/officeDocument/2006/relationships/slideLayout" Target="../slideLayouts/slideLayout563.xml"/><Relationship Id="rId37" Type="http://schemas.openxmlformats.org/officeDocument/2006/relationships/slideLayout" Target="../slideLayouts/slideLayout568.xml"/><Relationship Id="rId40" Type="http://schemas.openxmlformats.org/officeDocument/2006/relationships/slideLayout" Target="../slideLayouts/slideLayout571.xml"/><Relationship Id="rId45" Type="http://schemas.openxmlformats.org/officeDocument/2006/relationships/slideLayout" Target="../slideLayouts/slideLayout576.xml"/><Relationship Id="rId53" Type="http://schemas.openxmlformats.org/officeDocument/2006/relationships/slideLayout" Target="../slideLayouts/slideLayout584.xml"/><Relationship Id="rId58" Type="http://schemas.openxmlformats.org/officeDocument/2006/relationships/slideLayout" Target="../slideLayouts/slideLayout589.xml"/><Relationship Id="rId66" Type="http://schemas.openxmlformats.org/officeDocument/2006/relationships/slideLayout" Target="../slideLayouts/slideLayout597.xml"/><Relationship Id="rId5" Type="http://schemas.openxmlformats.org/officeDocument/2006/relationships/slideLayout" Target="../slideLayouts/slideLayout536.xml"/><Relationship Id="rId15" Type="http://schemas.openxmlformats.org/officeDocument/2006/relationships/slideLayout" Target="../slideLayouts/slideLayout546.xml"/><Relationship Id="rId23" Type="http://schemas.openxmlformats.org/officeDocument/2006/relationships/slideLayout" Target="../slideLayouts/slideLayout554.xml"/><Relationship Id="rId28" Type="http://schemas.openxmlformats.org/officeDocument/2006/relationships/slideLayout" Target="../slideLayouts/slideLayout559.xml"/><Relationship Id="rId36" Type="http://schemas.openxmlformats.org/officeDocument/2006/relationships/slideLayout" Target="../slideLayouts/slideLayout567.xml"/><Relationship Id="rId49" Type="http://schemas.openxmlformats.org/officeDocument/2006/relationships/slideLayout" Target="../slideLayouts/slideLayout580.xml"/><Relationship Id="rId57" Type="http://schemas.openxmlformats.org/officeDocument/2006/relationships/slideLayout" Target="../slideLayouts/slideLayout588.xml"/><Relationship Id="rId61" Type="http://schemas.openxmlformats.org/officeDocument/2006/relationships/slideLayout" Target="../slideLayouts/slideLayout592.xml"/><Relationship Id="rId10" Type="http://schemas.openxmlformats.org/officeDocument/2006/relationships/slideLayout" Target="../slideLayouts/slideLayout541.xml"/><Relationship Id="rId19" Type="http://schemas.openxmlformats.org/officeDocument/2006/relationships/slideLayout" Target="../slideLayouts/slideLayout550.xml"/><Relationship Id="rId31" Type="http://schemas.openxmlformats.org/officeDocument/2006/relationships/slideLayout" Target="../slideLayouts/slideLayout562.xml"/><Relationship Id="rId44" Type="http://schemas.openxmlformats.org/officeDocument/2006/relationships/slideLayout" Target="../slideLayouts/slideLayout575.xml"/><Relationship Id="rId52" Type="http://schemas.openxmlformats.org/officeDocument/2006/relationships/slideLayout" Target="../slideLayouts/slideLayout583.xml"/><Relationship Id="rId60" Type="http://schemas.openxmlformats.org/officeDocument/2006/relationships/slideLayout" Target="../slideLayouts/slideLayout591.xml"/><Relationship Id="rId65" Type="http://schemas.openxmlformats.org/officeDocument/2006/relationships/slideLayout" Target="../slideLayouts/slideLayout596.xml"/><Relationship Id="rId4" Type="http://schemas.openxmlformats.org/officeDocument/2006/relationships/slideLayout" Target="../slideLayouts/slideLayout535.xml"/><Relationship Id="rId9" Type="http://schemas.openxmlformats.org/officeDocument/2006/relationships/slideLayout" Target="../slideLayouts/slideLayout540.xml"/><Relationship Id="rId14" Type="http://schemas.openxmlformats.org/officeDocument/2006/relationships/slideLayout" Target="../slideLayouts/slideLayout545.xml"/><Relationship Id="rId22" Type="http://schemas.openxmlformats.org/officeDocument/2006/relationships/slideLayout" Target="../slideLayouts/slideLayout553.xml"/><Relationship Id="rId27" Type="http://schemas.openxmlformats.org/officeDocument/2006/relationships/slideLayout" Target="../slideLayouts/slideLayout558.xml"/><Relationship Id="rId30" Type="http://schemas.openxmlformats.org/officeDocument/2006/relationships/slideLayout" Target="../slideLayouts/slideLayout561.xml"/><Relationship Id="rId35" Type="http://schemas.openxmlformats.org/officeDocument/2006/relationships/slideLayout" Target="../slideLayouts/slideLayout566.xml"/><Relationship Id="rId43" Type="http://schemas.openxmlformats.org/officeDocument/2006/relationships/slideLayout" Target="../slideLayouts/slideLayout574.xml"/><Relationship Id="rId48" Type="http://schemas.openxmlformats.org/officeDocument/2006/relationships/slideLayout" Target="../slideLayouts/slideLayout579.xml"/><Relationship Id="rId56" Type="http://schemas.openxmlformats.org/officeDocument/2006/relationships/slideLayout" Target="../slideLayouts/slideLayout587.xml"/><Relationship Id="rId64" Type="http://schemas.openxmlformats.org/officeDocument/2006/relationships/slideLayout" Target="../slideLayouts/slideLayout595.xml"/><Relationship Id="rId69" Type="http://schemas.openxmlformats.org/officeDocument/2006/relationships/theme" Target="../theme/theme9.xml"/><Relationship Id="rId8" Type="http://schemas.openxmlformats.org/officeDocument/2006/relationships/slideLayout" Target="../slideLayouts/slideLayout539.xml"/><Relationship Id="rId51" Type="http://schemas.openxmlformats.org/officeDocument/2006/relationships/slideLayout" Target="../slideLayouts/slideLayout582.xml"/><Relationship Id="rId3" Type="http://schemas.openxmlformats.org/officeDocument/2006/relationships/slideLayout" Target="../slideLayouts/slideLayout534.xml"/><Relationship Id="rId12" Type="http://schemas.openxmlformats.org/officeDocument/2006/relationships/slideLayout" Target="../slideLayouts/slideLayout543.xml"/><Relationship Id="rId17" Type="http://schemas.openxmlformats.org/officeDocument/2006/relationships/slideLayout" Target="../slideLayouts/slideLayout548.xml"/><Relationship Id="rId25" Type="http://schemas.openxmlformats.org/officeDocument/2006/relationships/slideLayout" Target="../slideLayouts/slideLayout556.xml"/><Relationship Id="rId33" Type="http://schemas.openxmlformats.org/officeDocument/2006/relationships/slideLayout" Target="../slideLayouts/slideLayout564.xml"/><Relationship Id="rId38" Type="http://schemas.openxmlformats.org/officeDocument/2006/relationships/slideLayout" Target="../slideLayouts/slideLayout569.xml"/><Relationship Id="rId46" Type="http://schemas.openxmlformats.org/officeDocument/2006/relationships/slideLayout" Target="../slideLayouts/slideLayout577.xml"/><Relationship Id="rId59" Type="http://schemas.openxmlformats.org/officeDocument/2006/relationships/slideLayout" Target="../slideLayouts/slideLayout590.xml"/><Relationship Id="rId67" Type="http://schemas.openxmlformats.org/officeDocument/2006/relationships/slideLayout" Target="../slideLayouts/slideLayout598.xml"/><Relationship Id="rId20" Type="http://schemas.openxmlformats.org/officeDocument/2006/relationships/slideLayout" Target="../slideLayouts/slideLayout551.xml"/><Relationship Id="rId41" Type="http://schemas.openxmlformats.org/officeDocument/2006/relationships/slideLayout" Target="../slideLayouts/slideLayout572.xml"/><Relationship Id="rId54" Type="http://schemas.openxmlformats.org/officeDocument/2006/relationships/slideLayout" Target="../slideLayouts/slideLayout585.xml"/><Relationship Id="rId62" Type="http://schemas.openxmlformats.org/officeDocument/2006/relationships/slideLayout" Target="../slideLayouts/slideLayout59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332656"/>
            <a:ext cx="854958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25604" name="Espaço Reservado para Texto 16"/>
          <p:cNvSpPr>
            <a:spLocks noGrp="1"/>
          </p:cNvSpPr>
          <p:nvPr>
            <p:ph type="body"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3" r:id="rId20"/>
    <p:sldLayoutId id="2147483684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1" r:id="rId28"/>
    <p:sldLayoutId id="2147483692" r:id="rId29"/>
    <p:sldLayoutId id="2147483693" r:id="rId30"/>
    <p:sldLayoutId id="2147483694" r:id="rId31"/>
    <p:sldLayoutId id="2147483695" r:id="rId32"/>
    <p:sldLayoutId id="2147483696" r:id="rId33"/>
    <p:sldLayoutId id="2147483697" r:id="rId34"/>
    <p:sldLayoutId id="2147483698" r:id="rId35"/>
    <p:sldLayoutId id="2147483699" r:id="rId36"/>
    <p:sldLayoutId id="2147483700" r:id="rId37"/>
    <p:sldLayoutId id="2147483701" r:id="rId38"/>
    <p:sldLayoutId id="2147483702" r:id="rId39"/>
    <p:sldLayoutId id="2147483703" r:id="rId40"/>
    <p:sldLayoutId id="2147483704" r:id="rId41"/>
    <p:sldLayoutId id="2147483705" r:id="rId42"/>
    <p:sldLayoutId id="2147483706" r:id="rId43"/>
    <p:sldLayoutId id="2147483707" r:id="rId44"/>
    <p:sldLayoutId id="2147483708" r:id="rId45"/>
    <p:sldLayoutId id="2147483709" r:id="rId46"/>
    <p:sldLayoutId id="2147483710" r:id="rId47"/>
    <p:sldLayoutId id="2147483711" r:id="rId48"/>
    <p:sldLayoutId id="2147483712" r:id="rId49"/>
    <p:sldLayoutId id="2147483713" r:id="rId50"/>
    <p:sldLayoutId id="2147483714" r:id="rId51"/>
    <p:sldLayoutId id="2147483715" r:id="rId52"/>
    <p:sldLayoutId id="2147483716" r:id="rId53"/>
    <p:sldLayoutId id="2147483717" r:id="rId54"/>
    <p:sldLayoutId id="2147483718" r:id="rId55"/>
    <p:sldLayoutId id="2147483719" r:id="rId56"/>
    <p:sldLayoutId id="2147483720" r:id="rId57"/>
    <p:sldLayoutId id="2147483721" r:id="rId58"/>
    <p:sldLayoutId id="2147483722" r:id="rId59"/>
    <p:sldLayoutId id="2147483723" r:id="rId60"/>
    <p:sldLayoutId id="2147483724" r:id="rId61"/>
    <p:sldLayoutId id="2147483725" r:id="rId62"/>
    <p:sldLayoutId id="2147483726" r:id="rId63"/>
    <p:sldLayoutId id="2147483727" r:id="rId64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5pPr>
      <a:lvl6pPr marL="456939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6pPr>
      <a:lvl7pPr marL="913876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7pPr>
      <a:lvl8pPr marL="1370815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8pPr>
      <a:lvl9pPr marL="1827754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9pPr>
    </p:titleStyle>
    <p:bodyStyle>
      <a:lvl1pPr marL="342705" indent="-342705" algn="l" rtl="0" eaLnBrk="0" fontAlgn="base" hangingPunct="0">
        <a:spcBef>
          <a:spcPct val="0"/>
        </a:spcBef>
        <a:spcAft>
          <a:spcPts val="600"/>
        </a:spcAft>
        <a:defRPr sz="2000" b="1">
          <a:solidFill>
            <a:schemeClr val="tx2"/>
          </a:solidFill>
          <a:latin typeface="+mn-lt"/>
          <a:ea typeface="+mn-ea"/>
          <a:cs typeface="+mn-cs"/>
        </a:defRPr>
      </a:lvl1pPr>
      <a:lvl2pPr marL="318906" indent="-153901" algn="l" rtl="0" eaLnBrk="0" fontAlgn="base" hangingPunct="0">
        <a:spcBef>
          <a:spcPct val="0"/>
        </a:spcBef>
        <a:spcAft>
          <a:spcPts val="600"/>
        </a:spcAft>
        <a:buFont typeface="Wingdings" pitchFamily="2" charset="2"/>
        <a:buChar char="§"/>
        <a:defRPr>
          <a:solidFill>
            <a:schemeClr val="tx2"/>
          </a:solidFill>
          <a:latin typeface="+mn-lt"/>
        </a:defRPr>
      </a:lvl2pPr>
      <a:lvl3pPr marL="639396" indent="-153901" algn="l" rtl="0" eaLnBrk="0" fontAlgn="base" hangingPunct="0">
        <a:spcBef>
          <a:spcPct val="0"/>
        </a:spcBef>
        <a:spcAft>
          <a:spcPts val="600"/>
        </a:spcAft>
        <a:buFont typeface="Calibri" pitchFamily="34" charset="0"/>
        <a:buChar char="−"/>
        <a:defRPr>
          <a:solidFill>
            <a:schemeClr val="tx2"/>
          </a:solidFill>
          <a:latin typeface="+mn-lt"/>
        </a:defRPr>
      </a:lvl3pPr>
      <a:lvl4pPr marL="958301" indent="-153901" algn="l" rtl="0" eaLnBrk="0" fontAlgn="base" hangingPunct="0">
        <a:spcBef>
          <a:spcPct val="0"/>
        </a:spcBef>
        <a:spcAft>
          <a:spcPts val="600"/>
        </a:spcAft>
        <a:buSzPct val="100000"/>
        <a:buFont typeface="Calibri" pitchFamily="34" charset="0"/>
        <a:buChar char="•"/>
        <a:defRPr>
          <a:solidFill>
            <a:schemeClr val="tx2"/>
          </a:solidFill>
          <a:latin typeface="+mn-lt"/>
        </a:defRPr>
      </a:lvl4pPr>
      <a:lvl5pPr marL="1278794" indent="-153901" algn="l" rtl="0" eaLnBrk="0" fontAlgn="base" hangingPunct="0">
        <a:spcBef>
          <a:spcPct val="0"/>
        </a:spcBef>
        <a:spcAft>
          <a:spcPts val="600"/>
        </a:spcAft>
        <a:buSzPct val="50000"/>
        <a:buFont typeface="Courier New" pitchFamily="49" charset="0"/>
        <a:buChar char="o"/>
        <a:defRPr>
          <a:solidFill>
            <a:schemeClr val="tx2"/>
          </a:solidFill>
          <a:latin typeface="+mn-lt"/>
        </a:defRPr>
      </a:lvl5pPr>
      <a:lvl6pPr marL="1735732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6pPr>
      <a:lvl7pPr marL="2192671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7pPr>
      <a:lvl8pPr marL="2649609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8pPr>
      <a:lvl9pPr marL="3106547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9pPr>
    </p:bodyStyle>
    <p:otherStyle>
      <a:defPPr>
        <a:defRPr lang="pt-BR"/>
      </a:defPPr>
      <a:lvl1pPr marL="0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39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76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15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54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92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31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70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08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332656"/>
            <a:ext cx="854958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25604" name="Espaço Reservado para Texto 16"/>
          <p:cNvSpPr>
            <a:spLocks noGrp="1"/>
          </p:cNvSpPr>
          <p:nvPr>
            <p:ph type="body"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23" r:id="rId1"/>
    <p:sldLayoutId id="2147484424" r:id="rId2"/>
    <p:sldLayoutId id="2147484425" r:id="rId3"/>
    <p:sldLayoutId id="2147484426" r:id="rId4"/>
    <p:sldLayoutId id="2147484427" r:id="rId5"/>
    <p:sldLayoutId id="2147484428" r:id="rId6"/>
    <p:sldLayoutId id="2147484429" r:id="rId7"/>
    <p:sldLayoutId id="2147484430" r:id="rId8"/>
    <p:sldLayoutId id="2147484431" r:id="rId9"/>
    <p:sldLayoutId id="2147484432" r:id="rId10"/>
    <p:sldLayoutId id="2147484433" r:id="rId11"/>
    <p:sldLayoutId id="2147484434" r:id="rId12"/>
    <p:sldLayoutId id="2147484435" r:id="rId13"/>
    <p:sldLayoutId id="2147484436" r:id="rId14"/>
    <p:sldLayoutId id="2147484437" r:id="rId15"/>
    <p:sldLayoutId id="2147484438" r:id="rId16"/>
    <p:sldLayoutId id="2147484439" r:id="rId17"/>
    <p:sldLayoutId id="2147484440" r:id="rId18"/>
    <p:sldLayoutId id="2147484441" r:id="rId19"/>
    <p:sldLayoutId id="2147484442" r:id="rId20"/>
    <p:sldLayoutId id="2147484444" r:id="rId21"/>
    <p:sldLayoutId id="2147484445" r:id="rId22"/>
    <p:sldLayoutId id="2147484446" r:id="rId23"/>
    <p:sldLayoutId id="2147484447" r:id="rId24"/>
    <p:sldLayoutId id="2147484448" r:id="rId25"/>
    <p:sldLayoutId id="2147484449" r:id="rId26"/>
    <p:sldLayoutId id="2147484450" r:id="rId27"/>
    <p:sldLayoutId id="2147484451" r:id="rId28"/>
    <p:sldLayoutId id="2147484452" r:id="rId29"/>
    <p:sldLayoutId id="2147484453" r:id="rId30"/>
    <p:sldLayoutId id="2147484454" r:id="rId31"/>
    <p:sldLayoutId id="2147484455" r:id="rId32"/>
    <p:sldLayoutId id="2147484456" r:id="rId33"/>
    <p:sldLayoutId id="2147484457" r:id="rId34"/>
    <p:sldLayoutId id="2147484458" r:id="rId35"/>
    <p:sldLayoutId id="2147484459" r:id="rId36"/>
    <p:sldLayoutId id="2147484460" r:id="rId37"/>
    <p:sldLayoutId id="2147484461" r:id="rId38"/>
    <p:sldLayoutId id="2147484462" r:id="rId39"/>
    <p:sldLayoutId id="2147484463" r:id="rId40"/>
    <p:sldLayoutId id="2147484464" r:id="rId41"/>
    <p:sldLayoutId id="2147484465" r:id="rId42"/>
    <p:sldLayoutId id="2147484466" r:id="rId43"/>
    <p:sldLayoutId id="2147484467" r:id="rId44"/>
    <p:sldLayoutId id="2147484468" r:id="rId45"/>
    <p:sldLayoutId id="2147484469" r:id="rId46"/>
    <p:sldLayoutId id="2147484470" r:id="rId47"/>
    <p:sldLayoutId id="2147484471" r:id="rId48"/>
    <p:sldLayoutId id="2147484472" r:id="rId49"/>
    <p:sldLayoutId id="2147484473" r:id="rId50"/>
    <p:sldLayoutId id="2147484474" r:id="rId51"/>
    <p:sldLayoutId id="2147484475" r:id="rId52"/>
    <p:sldLayoutId id="2147484476" r:id="rId53"/>
    <p:sldLayoutId id="2147484477" r:id="rId54"/>
    <p:sldLayoutId id="2147484478" r:id="rId55"/>
    <p:sldLayoutId id="2147484479" r:id="rId56"/>
    <p:sldLayoutId id="2147484480" r:id="rId57"/>
    <p:sldLayoutId id="2147484481" r:id="rId58"/>
    <p:sldLayoutId id="2147484482" r:id="rId59"/>
    <p:sldLayoutId id="2147484483" r:id="rId60"/>
    <p:sldLayoutId id="2147484484" r:id="rId61"/>
    <p:sldLayoutId id="2147484485" r:id="rId62"/>
    <p:sldLayoutId id="2147484486" r:id="rId63"/>
    <p:sldLayoutId id="2147484487" r:id="rId64"/>
    <p:sldLayoutId id="2147484488" r:id="rId65"/>
    <p:sldLayoutId id="2147484489" r:id="rId66"/>
    <p:sldLayoutId id="2147484490" r:id="rId67"/>
    <p:sldLayoutId id="2147484491" r:id="rId68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5pPr>
      <a:lvl6pPr marL="456939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6pPr>
      <a:lvl7pPr marL="913876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7pPr>
      <a:lvl8pPr marL="1370815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8pPr>
      <a:lvl9pPr marL="1827754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9pPr>
    </p:titleStyle>
    <p:bodyStyle>
      <a:lvl1pPr marL="342705" indent="-342705" algn="l" rtl="0" eaLnBrk="0" fontAlgn="base" hangingPunct="0">
        <a:spcBef>
          <a:spcPct val="0"/>
        </a:spcBef>
        <a:spcAft>
          <a:spcPts val="600"/>
        </a:spcAft>
        <a:defRPr sz="2000" b="1">
          <a:solidFill>
            <a:schemeClr val="tx2"/>
          </a:solidFill>
          <a:latin typeface="+mn-lt"/>
          <a:ea typeface="+mn-ea"/>
          <a:cs typeface="+mn-cs"/>
        </a:defRPr>
      </a:lvl1pPr>
      <a:lvl2pPr marL="318906" indent="-153901" algn="l" rtl="0" eaLnBrk="0" fontAlgn="base" hangingPunct="0">
        <a:spcBef>
          <a:spcPct val="0"/>
        </a:spcBef>
        <a:spcAft>
          <a:spcPts val="600"/>
        </a:spcAft>
        <a:buFont typeface="Wingdings" pitchFamily="2" charset="2"/>
        <a:buChar char="§"/>
        <a:defRPr>
          <a:solidFill>
            <a:schemeClr val="tx2"/>
          </a:solidFill>
          <a:latin typeface="+mn-lt"/>
        </a:defRPr>
      </a:lvl2pPr>
      <a:lvl3pPr marL="639396" indent="-153901" algn="l" rtl="0" eaLnBrk="0" fontAlgn="base" hangingPunct="0">
        <a:spcBef>
          <a:spcPct val="0"/>
        </a:spcBef>
        <a:spcAft>
          <a:spcPts val="600"/>
        </a:spcAft>
        <a:buFont typeface="Calibri" pitchFamily="34" charset="0"/>
        <a:buChar char="−"/>
        <a:defRPr>
          <a:solidFill>
            <a:schemeClr val="tx2"/>
          </a:solidFill>
          <a:latin typeface="+mn-lt"/>
        </a:defRPr>
      </a:lvl3pPr>
      <a:lvl4pPr marL="958301" indent="-153901" algn="l" rtl="0" eaLnBrk="0" fontAlgn="base" hangingPunct="0">
        <a:spcBef>
          <a:spcPct val="0"/>
        </a:spcBef>
        <a:spcAft>
          <a:spcPts val="600"/>
        </a:spcAft>
        <a:buSzPct val="100000"/>
        <a:buFont typeface="Calibri" pitchFamily="34" charset="0"/>
        <a:buChar char="•"/>
        <a:defRPr>
          <a:solidFill>
            <a:schemeClr val="tx2"/>
          </a:solidFill>
          <a:latin typeface="+mn-lt"/>
        </a:defRPr>
      </a:lvl4pPr>
      <a:lvl5pPr marL="1278794" indent="-153901" algn="l" rtl="0" eaLnBrk="0" fontAlgn="base" hangingPunct="0">
        <a:spcBef>
          <a:spcPct val="0"/>
        </a:spcBef>
        <a:spcAft>
          <a:spcPts val="600"/>
        </a:spcAft>
        <a:buSzPct val="50000"/>
        <a:buFont typeface="Courier New" pitchFamily="49" charset="0"/>
        <a:buChar char="o"/>
        <a:defRPr>
          <a:solidFill>
            <a:schemeClr val="tx2"/>
          </a:solidFill>
          <a:latin typeface="+mn-lt"/>
        </a:defRPr>
      </a:lvl5pPr>
      <a:lvl6pPr marL="1735732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6pPr>
      <a:lvl7pPr marL="2192671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7pPr>
      <a:lvl8pPr marL="2649609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8pPr>
      <a:lvl9pPr marL="3106547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9pPr>
    </p:bodyStyle>
    <p:otherStyle>
      <a:defPPr>
        <a:defRPr lang="pt-BR"/>
      </a:defPPr>
      <a:lvl1pPr marL="0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39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76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15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54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92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31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70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08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332656"/>
            <a:ext cx="854958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25604" name="Espaço Reservado para Texto 16"/>
          <p:cNvSpPr>
            <a:spLocks noGrp="1"/>
          </p:cNvSpPr>
          <p:nvPr>
            <p:ph type="body"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93" r:id="rId1"/>
    <p:sldLayoutId id="2147484494" r:id="rId2"/>
    <p:sldLayoutId id="2147484495" r:id="rId3"/>
    <p:sldLayoutId id="2147484496" r:id="rId4"/>
    <p:sldLayoutId id="2147484497" r:id="rId5"/>
    <p:sldLayoutId id="2147484498" r:id="rId6"/>
    <p:sldLayoutId id="2147484499" r:id="rId7"/>
    <p:sldLayoutId id="2147484500" r:id="rId8"/>
    <p:sldLayoutId id="2147484501" r:id="rId9"/>
    <p:sldLayoutId id="2147484502" r:id="rId10"/>
    <p:sldLayoutId id="2147484503" r:id="rId11"/>
    <p:sldLayoutId id="2147484504" r:id="rId12"/>
    <p:sldLayoutId id="2147484505" r:id="rId13"/>
    <p:sldLayoutId id="2147484506" r:id="rId14"/>
    <p:sldLayoutId id="2147484507" r:id="rId15"/>
    <p:sldLayoutId id="2147484508" r:id="rId16"/>
    <p:sldLayoutId id="2147484509" r:id="rId17"/>
    <p:sldLayoutId id="2147484510" r:id="rId18"/>
    <p:sldLayoutId id="2147484511" r:id="rId19"/>
    <p:sldLayoutId id="2147484512" r:id="rId20"/>
    <p:sldLayoutId id="2147484514" r:id="rId21"/>
    <p:sldLayoutId id="2147484515" r:id="rId22"/>
    <p:sldLayoutId id="2147484516" r:id="rId23"/>
    <p:sldLayoutId id="2147484517" r:id="rId24"/>
    <p:sldLayoutId id="2147484518" r:id="rId25"/>
    <p:sldLayoutId id="2147484519" r:id="rId26"/>
    <p:sldLayoutId id="2147484520" r:id="rId27"/>
    <p:sldLayoutId id="2147484521" r:id="rId28"/>
    <p:sldLayoutId id="2147484522" r:id="rId29"/>
    <p:sldLayoutId id="2147484523" r:id="rId30"/>
    <p:sldLayoutId id="2147484524" r:id="rId31"/>
    <p:sldLayoutId id="2147484525" r:id="rId32"/>
    <p:sldLayoutId id="2147484526" r:id="rId33"/>
    <p:sldLayoutId id="2147484527" r:id="rId34"/>
    <p:sldLayoutId id="2147484528" r:id="rId35"/>
    <p:sldLayoutId id="2147484529" r:id="rId36"/>
    <p:sldLayoutId id="2147484530" r:id="rId37"/>
    <p:sldLayoutId id="2147484531" r:id="rId38"/>
    <p:sldLayoutId id="2147484532" r:id="rId39"/>
    <p:sldLayoutId id="2147484533" r:id="rId40"/>
    <p:sldLayoutId id="2147484534" r:id="rId41"/>
    <p:sldLayoutId id="2147484535" r:id="rId42"/>
    <p:sldLayoutId id="2147484536" r:id="rId43"/>
    <p:sldLayoutId id="2147484537" r:id="rId44"/>
    <p:sldLayoutId id="2147484538" r:id="rId45"/>
    <p:sldLayoutId id="2147484539" r:id="rId46"/>
    <p:sldLayoutId id="2147484540" r:id="rId47"/>
    <p:sldLayoutId id="2147484541" r:id="rId48"/>
    <p:sldLayoutId id="2147484542" r:id="rId49"/>
    <p:sldLayoutId id="2147484543" r:id="rId50"/>
    <p:sldLayoutId id="2147484544" r:id="rId51"/>
    <p:sldLayoutId id="2147484545" r:id="rId52"/>
    <p:sldLayoutId id="2147484546" r:id="rId53"/>
    <p:sldLayoutId id="2147484547" r:id="rId54"/>
    <p:sldLayoutId id="2147484548" r:id="rId55"/>
    <p:sldLayoutId id="2147484549" r:id="rId56"/>
    <p:sldLayoutId id="2147484550" r:id="rId57"/>
    <p:sldLayoutId id="2147484551" r:id="rId58"/>
    <p:sldLayoutId id="2147484552" r:id="rId59"/>
    <p:sldLayoutId id="2147484553" r:id="rId60"/>
    <p:sldLayoutId id="2147484554" r:id="rId61"/>
    <p:sldLayoutId id="2147484555" r:id="rId62"/>
    <p:sldLayoutId id="2147484556" r:id="rId63"/>
    <p:sldLayoutId id="2147484557" r:id="rId64"/>
    <p:sldLayoutId id="2147484558" r:id="rId65"/>
    <p:sldLayoutId id="2147484559" r:id="rId66"/>
    <p:sldLayoutId id="2147484560" r:id="rId67"/>
    <p:sldLayoutId id="2147484561" r:id="rId68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5pPr>
      <a:lvl6pPr marL="456939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6pPr>
      <a:lvl7pPr marL="913876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7pPr>
      <a:lvl8pPr marL="1370815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8pPr>
      <a:lvl9pPr marL="1827754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9pPr>
    </p:titleStyle>
    <p:bodyStyle>
      <a:lvl1pPr marL="342705" indent="-342705" algn="l" rtl="0" eaLnBrk="0" fontAlgn="base" hangingPunct="0">
        <a:spcBef>
          <a:spcPct val="0"/>
        </a:spcBef>
        <a:spcAft>
          <a:spcPts val="600"/>
        </a:spcAft>
        <a:defRPr sz="2000" b="1">
          <a:solidFill>
            <a:schemeClr val="tx2"/>
          </a:solidFill>
          <a:latin typeface="+mn-lt"/>
          <a:ea typeface="+mn-ea"/>
          <a:cs typeface="+mn-cs"/>
        </a:defRPr>
      </a:lvl1pPr>
      <a:lvl2pPr marL="318906" indent="-153901" algn="l" rtl="0" eaLnBrk="0" fontAlgn="base" hangingPunct="0">
        <a:spcBef>
          <a:spcPct val="0"/>
        </a:spcBef>
        <a:spcAft>
          <a:spcPts val="600"/>
        </a:spcAft>
        <a:buFont typeface="Wingdings" pitchFamily="2" charset="2"/>
        <a:buChar char="§"/>
        <a:defRPr>
          <a:solidFill>
            <a:schemeClr val="tx2"/>
          </a:solidFill>
          <a:latin typeface="+mn-lt"/>
        </a:defRPr>
      </a:lvl2pPr>
      <a:lvl3pPr marL="639396" indent="-153901" algn="l" rtl="0" eaLnBrk="0" fontAlgn="base" hangingPunct="0">
        <a:spcBef>
          <a:spcPct val="0"/>
        </a:spcBef>
        <a:spcAft>
          <a:spcPts val="600"/>
        </a:spcAft>
        <a:buFont typeface="Calibri" pitchFamily="34" charset="0"/>
        <a:buChar char="−"/>
        <a:defRPr>
          <a:solidFill>
            <a:schemeClr val="tx2"/>
          </a:solidFill>
          <a:latin typeface="+mn-lt"/>
        </a:defRPr>
      </a:lvl3pPr>
      <a:lvl4pPr marL="958301" indent="-153901" algn="l" rtl="0" eaLnBrk="0" fontAlgn="base" hangingPunct="0">
        <a:spcBef>
          <a:spcPct val="0"/>
        </a:spcBef>
        <a:spcAft>
          <a:spcPts val="600"/>
        </a:spcAft>
        <a:buSzPct val="100000"/>
        <a:buFont typeface="Calibri" pitchFamily="34" charset="0"/>
        <a:buChar char="•"/>
        <a:defRPr>
          <a:solidFill>
            <a:schemeClr val="tx2"/>
          </a:solidFill>
          <a:latin typeface="+mn-lt"/>
        </a:defRPr>
      </a:lvl4pPr>
      <a:lvl5pPr marL="1278794" indent="-153901" algn="l" rtl="0" eaLnBrk="0" fontAlgn="base" hangingPunct="0">
        <a:spcBef>
          <a:spcPct val="0"/>
        </a:spcBef>
        <a:spcAft>
          <a:spcPts val="600"/>
        </a:spcAft>
        <a:buSzPct val="50000"/>
        <a:buFont typeface="Courier New" pitchFamily="49" charset="0"/>
        <a:buChar char="o"/>
        <a:defRPr>
          <a:solidFill>
            <a:schemeClr val="tx2"/>
          </a:solidFill>
          <a:latin typeface="+mn-lt"/>
        </a:defRPr>
      </a:lvl5pPr>
      <a:lvl6pPr marL="1735732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6pPr>
      <a:lvl7pPr marL="2192671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7pPr>
      <a:lvl8pPr marL="2649609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8pPr>
      <a:lvl9pPr marL="3106547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9pPr>
    </p:bodyStyle>
    <p:otherStyle>
      <a:defPPr>
        <a:defRPr lang="pt-BR"/>
      </a:defPPr>
      <a:lvl1pPr marL="0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39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76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15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54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92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31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70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08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332656"/>
            <a:ext cx="854958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25604" name="Espaço Reservado para Texto 16"/>
          <p:cNvSpPr>
            <a:spLocks noGrp="1"/>
          </p:cNvSpPr>
          <p:nvPr>
            <p:ph type="body"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3" r:id="rId15"/>
    <p:sldLayoutId id="2147483744" r:id="rId16"/>
    <p:sldLayoutId id="2147483745" r:id="rId17"/>
    <p:sldLayoutId id="2147483746" r:id="rId18"/>
    <p:sldLayoutId id="2147483747" r:id="rId19"/>
    <p:sldLayoutId id="2147483748" r:id="rId20"/>
    <p:sldLayoutId id="2147483750" r:id="rId21"/>
    <p:sldLayoutId id="2147483751" r:id="rId22"/>
    <p:sldLayoutId id="2147483752" r:id="rId23"/>
    <p:sldLayoutId id="2147483753" r:id="rId24"/>
    <p:sldLayoutId id="2147483754" r:id="rId25"/>
    <p:sldLayoutId id="2147483755" r:id="rId26"/>
    <p:sldLayoutId id="2147483756" r:id="rId27"/>
    <p:sldLayoutId id="2147483757" r:id="rId28"/>
    <p:sldLayoutId id="2147483758" r:id="rId29"/>
    <p:sldLayoutId id="2147483759" r:id="rId30"/>
    <p:sldLayoutId id="2147483760" r:id="rId31"/>
    <p:sldLayoutId id="2147483761" r:id="rId32"/>
    <p:sldLayoutId id="2147483762" r:id="rId33"/>
    <p:sldLayoutId id="2147483763" r:id="rId34"/>
    <p:sldLayoutId id="2147483764" r:id="rId35"/>
    <p:sldLayoutId id="2147483765" r:id="rId36"/>
    <p:sldLayoutId id="2147483766" r:id="rId37"/>
    <p:sldLayoutId id="2147483767" r:id="rId38"/>
    <p:sldLayoutId id="2147483768" r:id="rId39"/>
    <p:sldLayoutId id="2147483769" r:id="rId40"/>
    <p:sldLayoutId id="2147483770" r:id="rId41"/>
    <p:sldLayoutId id="2147483771" r:id="rId42"/>
    <p:sldLayoutId id="2147483772" r:id="rId43"/>
    <p:sldLayoutId id="2147483773" r:id="rId44"/>
    <p:sldLayoutId id="2147483774" r:id="rId45"/>
    <p:sldLayoutId id="2147483775" r:id="rId46"/>
    <p:sldLayoutId id="2147483776" r:id="rId47"/>
    <p:sldLayoutId id="2147483777" r:id="rId48"/>
    <p:sldLayoutId id="2147483778" r:id="rId49"/>
    <p:sldLayoutId id="2147483779" r:id="rId50"/>
    <p:sldLayoutId id="2147483780" r:id="rId51"/>
    <p:sldLayoutId id="2147483781" r:id="rId52"/>
    <p:sldLayoutId id="2147483782" r:id="rId53"/>
    <p:sldLayoutId id="2147483783" r:id="rId54"/>
    <p:sldLayoutId id="2147483784" r:id="rId55"/>
    <p:sldLayoutId id="2147483785" r:id="rId56"/>
    <p:sldLayoutId id="2147483786" r:id="rId57"/>
    <p:sldLayoutId id="2147483787" r:id="rId58"/>
    <p:sldLayoutId id="2147483788" r:id="rId59"/>
    <p:sldLayoutId id="2147483789" r:id="rId60"/>
    <p:sldLayoutId id="2147483790" r:id="rId61"/>
    <p:sldLayoutId id="2147483791" r:id="rId62"/>
    <p:sldLayoutId id="2147483792" r:id="rId63"/>
    <p:sldLayoutId id="2147483794" r:id="rId64"/>
    <p:sldLayoutId id="2147484562" r:id="rId65"/>
    <p:sldLayoutId id="2147484563" r:id="rId66"/>
    <p:sldLayoutId id="2147484564" r:id="rId67"/>
    <p:sldLayoutId id="2147484565" r:id="rId68"/>
    <p:sldLayoutId id="2147484566" r:id="rId69"/>
    <p:sldLayoutId id="2147484567" r:id="rId70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5pPr>
      <a:lvl6pPr marL="456939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6pPr>
      <a:lvl7pPr marL="913876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7pPr>
      <a:lvl8pPr marL="1370815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8pPr>
      <a:lvl9pPr marL="1827754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9pPr>
    </p:titleStyle>
    <p:bodyStyle>
      <a:lvl1pPr marL="342705" indent="-342705" algn="l" rtl="0" eaLnBrk="0" fontAlgn="base" hangingPunct="0">
        <a:spcBef>
          <a:spcPct val="0"/>
        </a:spcBef>
        <a:spcAft>
          <a:spcPts val="600"/>
        </a:spcAft>
        <a:defRPr sz="2000" b="1">
          <a:solidFill>
            <a:schemeClr val="tx2"/>
          </a:solidFill>
          <a:latin typeface="+mn-lt"/>
          <a:ea typeface="+mn-ea"/>
          <a:cs typeface="+mn-cs"/>
        </a:defRPr>
      </a:lvl1pPr>
      <a:lvl2pPr marL="318906" indent="-153901" algn="l" rtl="0" eaLnBrk="0" fontAlgn="base" hangingPunct="0">
        <a:spcBef>
          <a:spcPct val="0"/>
        </a:spcBef>
        <a:spcAft>
          <a:spcPts val="600"/>
        </a:spcAft>
        <a:buFont typeface="Wingdings" pitchFamily="2" charset="2"/>
        <a:buChar char="§"/>
        <a:defRPr>
          <a:solidFill>
            <a:schemeClr val="tx2"/>
          </a:solidFill>
          <a:latin typeface="+mn-lt"/>
        </a:defRPr>
      </a:lvl2pPr>
      <a:lvl3pPr marL="639396" indent="-153901" algn="l" rtl="0" eaLnBrk="0" fontAlgn="base" hangingPunct="0">
        <a:spcBef>
          <a:spcPct val="0"/>
        </a:spcBef>
        <a:spcAft>
          <a:spcPts val="600"/>
        </a:spcAft>
        <a:buFont typeface="Calibri" pitchFamily="34" charset="0"/>
        <a:buChar char="−"/>
        <a:defRPr>
          <a:solidFill>
            <a:schemeClr val="tx2"/>
          </a:solidFill>
          <a:latin typeface="+mn-lt"/>
        </a:defRPr>
      </a:lvl3pPr>
      <a:lvl4pPr marL="958301" indent="-153901" algn="l" rtl="0" eaLnBrk="0" fontAlgn="base" hangingPunct="0">
        <a:spcBef>
          <a:spcPct val="0"/>
        </a:spcBef>
        <a:spcAft>
          <a:spcPts val="600"/>
        </a:spcAft>
        <a:buSzPct val="100000"/>
        <a:buFont typeface="Calibri" pitchFamily="34" charset="0"/>
        <a:buChar char="•"/>
        <a:defRPr>
          <a:solidFill>
            <a:schemeClr val="tx2"/>
          </a:solidFill>
          <a:latin typeface="+mn-lt"/>
        </a:defRPr>
      </a:lvl4pPr>
      <a:lvl5pPr marL="1278794" indent="-153901" algn="l" rtl="0" eaLnBrk="0" fontAlgn="base" hangingPunct="0">
        <a:spcBef>
          <a:spcPct val="0"/>
        </a:spcBef>
        <a:spcAft>
          <a:spcPts val="600"/>
        </a:spcAft>
        <a:buSzPct val="50000"/>
        <a:buFont typeface="Courier New" pitchFamily="49" charset="0"/>
        <a:buChar char="o"/>
        <a:defRPr>
          <a:solidFill>
            <a:schemeClr val="tx2"/>
          </a:solidFill>
          <a:latin typeface="+mn-lt"/>
        </a:defRPr>
      </a:lvl5pPr>
      <a:lvl6pPr marL="1735732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6pPr>
      <a:lvl7pPr marL="2192671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7pPr>
      <a:lvl8pPr marL="2649609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8pPr>
      <a:lvl9pPr marL="3106547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9pPr>
    </p:bodyStyle>
    <p:otherStyle>
      <a:defPPr>
        <a:defRPr lang="pt-BR"/>
      </a:defPPr>
      <a:lvl1pPr marL="0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39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76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15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54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92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31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70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08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332656"/>
            <a:ext cx="854958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25604" name="Espaço Reservado para Texto 16"/>
          <p:cNvSpPr>
            <a:spLocks noGrp="1"/>
          </p:cNvSpPr>
          <p:nvPr>
            <p:ph type="body"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  <p:sldLayoutId id="2147483808" r:id="rId12"/>
    <p:sldLayoutId id="2147483809" r:id="rId13"/>
    <p:sldLayoutId id="2147483810" r:id="rId14"/>
    <p:sldLayoutId id="2147483811" r:id="rId15"/>
    <p:sldLayoutId id="2147483812" r:id="rId16"/>
    <p:sldLayoutId id="2147483813" r:id="rId17"/>
    <p:sldLayoutId id="2147483814" r:id="rId18"/>
    <p:sldLayoutId id="2147483815" r:id="rId19"/>
    <p:sldLayoutId id="2147483817" r:id="rId20"/>
    <p:sldLayoutId id="2147483818" r:id="rId21"/>
    <p:sldLayoutId id="2147483819" r:id="rId22"/>
    <p:sldLayoutId id="2147483820" r:id="rId23"/>
    <p:sldLayoutId id="2147483821" r:id="rId24"/>
    <p:sldLayoutId id="2147483822" r:id="rId25"/>
    <p:sldLayoutId id="2147483823" r:id="rId26"/>
    <p:sldLayoutId id="2147483824" r:id="rId27"/>
    <p:sldLayoutId id="2147483825" r:id="rId28"/>
    <p:sldLayoutId id="2147483826" r:id="rId29"/>
    <p:sldLayoutId id="2147483827" r:id="rId30"/>
    <p:sldLayoutId id="2147483828" r:id="rId31"/>
    <p:sldLayoutId id="2147483829" r:id="rId32"/>
    <p:sldLayoutId id="2147483830" r:id="rId33"/>
    <p:sldLayoutId id="2147483831" r:id="rId34"/>
    <p:sldLayoutId id="2147483832" r:id="rId35"/>
    <p:sldLayoutId id="2147483833" r:id="rId36"/>
    <p:sldLayoutId id="2147483834" r:id="rId37"/>
    <p:sldLayoutId id="2147483835" r:id="rId38"/>
    <p:sldLayoutId id="2147483836" r:id="rId39"/>
    <p:sldLayoutId id="2147483837" r:id="rId40"/>
    <p:sldLayoutId id="2147483838" r:id="rId41"/>
    <p:sldLayoutId id="2147483839" r:id="rId42"/>
    <p:sldLayoutId id="2147483840" r:id="rId43"/>
    <p:sldLayoutId id="2147483841" r:id="rId44"/>
    <p:sldLayoutId id="2147483842" r:id="rId45"/>
    <p:sldLayoutId id="2147483843" r:id="rId46"/>
    <p:sldLayoutId id="2147483844" r:id="rId47"/>
    <p:sldLayoutId id="2147483845" r:id="rId48"/>
    <p:sldLayoutId id="2147483846" r:id="rId49"/>
    <p:sldLayoutId id="2147483847" r:id="rId50"/>
    <p:sldLayoutId id="2147483848" r:id="rId51"/>
    <p:sldLayoutId id="2147483849" r:id="rId52"/>
    <p:sldLayoutId id="2147483850" r:id="rId53"/>
    <p:sldLayoutId id="2147483851" r:id="rId54"/>
    <p:sldLayoutId id="2147483852" r:id="rId55"/>
    <p:sldLayoutId id="2147483853" r:id="rId56"/>
    <p:sldLayoutId id="2147483854" r:id="rId57"/>
    <p:sldLayoutId id="2147483855" r:id="rId58"/>
    <p:sldLayoutId id="2147483856" r:id="rId59"/>
    <p:sldLayoutId id="2147483857" r:id="rId60"/>
    <p:sldLayoutId id="2147483858" r:id="rId61"/>
    <p:sldLayoutId id="2147483859" r:id="rId62"/>
    <p:sldLayoutId id="2147483861" r:id="rId63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5pPr>
      <a:lvl6pPr marL="456939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6pPr>
      <a:lvl7pPr marL="913876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7pPr>
      <a:lvl8pPr marL="1370815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8pPr>
      <a:lvl9pPr marL="1827754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9pPr>
    </p:titleStyle>
    <p:bodyStyle>
      <a:lvl1pPr marL="342705" indent="-342705" algn="l" rtl="0" eaLnBrk="0" fontAlgn="base" hangingPunct="0">
        <a:spcBef>
          <a:spcPct val="0"/>
        </a:spcBef>
        <a:spcAft>
          <a:spcPts val="600"/>
        </a:spcAft>
        <a:defRPr sz="2000" b="1">
          <a:solidFill>
            <a:schemeClr val="tx2"/>
          </a:solidFill>
          <a:latin typeface="+mn-lt"/>
          <a:ea typeface="+mn-ea"/>
          <a:cs typeface="+mn-cs"/>
        </a:defRPr>
      </a:lvl1pPr>
      <a:lvl2pPr marL="318906" indent="-153901" algn="l" rtl="0" eaLnBrk="0" fontAlgn="base" hangingPunct="0">
        <a:spcBef>
          <a:spcPct val="0"/>
        </a:spcBef>
        <a:spcAft>
          <a:spcPts val="600"/>
        </a:spcAft>
        <a:buFont typeface="Wingdings" pitchFamily="2" charset="2"/>
        <a:buChar char="§"/>
        <a:defRPr>
          <a:solidFill>
            <a:schemeClr val="tx2"/>
          </a:solidFill>
          <a:latin typeface="+mn-lt"/>
        </a:defRPr>
      </a:lvl2pPr>
      <a:lvl3pPr marL="639396" indent="-153901" algn="l" rtl="0" eaLnBrk="0" fontAlgn="base" hangingPunct="0">
        <a:spcBef>
          <a:spcPct val="0"/>
        </a:spcBef>
        <a:spcAft>
          <a:spcPts val="600"/>
        </a:spcAft>
        <a:buFont typeface="Calibri" pitchFamily="34" charset="0"/>
        <a:buChar char="−"/>
        <a:defRPr>
          <a:solidFill>
            <a:schemeClr val="tx2"/>
          </a:solidFill>
          <a:latin typeface="+mn-lt"/>
        </a:defRPr>
      </a:lvl3pPr>
      <a:lvl4pPr marL="958301" indent="-153901" algn="l" rtl="0" eaLnBrk="0" fontAlgn="base" hangingPunct="0">
        <a:spcBef>
          <a:spcPct val="0"/>
        </a:spcBef>
        <a:spcAft>
          <a:spcPts val="600"/>
        </a:spcAft>
        <a:buSzPct val="100000"/>
        <a:buFont typeface="Calibri" pitchFamily="34" charset="0"/>
        <a:buChar char="•"/>
        <a:defRPr>
          <a:solidFill>
            <a:schemeClr val="tx2"/>
          </a:solidFill>
          <a:latin typeface="+mn-lt"/>
        </a:defRPr>
      </a:lvl4pPr>
      <a:lvl5pPr marL="1278794" indent="-153901" algn="l" rtl="0" eaLnBrk="0" fontAlgn="base" hangingPunct="0">
        <a:spcBef>
          <a:spcPct val="0"/>
        </a:spcBef>
        <a:spcAft>
          <a:spcPts val="600"/>
        </a:spcAft>
        <a:buSzPct val="50000"/>
        <a:buFont typeface="Courier New" pitchFamily="49" charset="0"/>
        <a:buChar char="o"/>
        <a:defRPr>
          <a:solidFill>
            <a:schemeClr val="tx2"/>
          </a:solidFill>
          <a:latin typeface="+mn-lt"/>
        </a:defRPr>
      </a:lvl5pPr>
      <a:lvl6pPr marL="1735732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6pPr>
      <a:lvl7pPr marL="2192671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7pPr>
      <a:lvl8pPr marL="2649609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8pPr>
      <a:lvl9pPr marL="3106547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9pPr>
    </p:bodyStyle>
    <p:otherStyle>
      <a:defPPr>
        <a:defRPr lang="pt-BR"/>
      </a:defPPr>
      <a:lvl1pPr marL="0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39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76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15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54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92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31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70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08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332656"/>
            <a:ext cx="854958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25604" name="Espaço Reservado para Texto 16"/>
          <p:cNvSpPr>
            <a:spLocks noGrp="1"/>
          </p:cNvSpPr>
          <p:nvPr>
            <p:ph type="body"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  <p:sldLayoutId id="2147483868" r:id="rId5"/>
    <p:sldLayoutId id="2147483869" r:id="rId6"/>
    <p:sldLayoutId id="2147483870" r:id="rId7"/>
    <p:sldLayoutId id="2147483871" r:id="rId8"/>
    <p:sldLayoutId id="2147483872" r:id="rId9"/>
    <p:sldLayoutId id="2147483873" r:id="rId10"/>
    <p:sldLayoutId id="2147483874" r:id="rId11"/>
    <p:sldLayoutId id="2147483875" r:id="rId12"/>
    <p:sldLayoutId id="2147483876" r:id="rId13"/>
    <p:sldLayoutId id="2147483877" r:id="rId14"/>
    <p:sldLayoutId id="2147483878" r:id="rId15"/>
    <p:sldLayoutId id="2147483879" r:id="rId16"/>
    <p:sldLayoutId id="2147483880" r:id="rId17"/>
    <p:sldLayoutId id="2147483881" r:id="rId18"/>
    <p:sldLayoutId id="2147483882" r:id="rId19"/>
    <p:sldLayoutId id="2147483883" r:id="rId20"/>
    <p:sldLayoutId id="2147483885" r:id="rId21"/>
    <p:sldLayoutId id="2147483886" r:id="rId22"/>
    <p:sldLayoutId id="2147483887" r:id="rId23"/>
    <p:sldLayoutId id="2147483888" r:id="rId24"/>
    <p:sldLayoutId id="2147483889" r:id="rId25"/>
    <p:sldLayoutId id="2147483890" r:id="rId26"/>
    <p:sldLayoutId id="2147483891" r:id="rId27"/>
    <p:sldLayoutId id="2147483892" r:id="rId28"/>
    <p:sldLayoutId id="2147483893" r:id="rId29"/>
    <p:sldLayoutId id="2147483894" r:id="rId30"/>
    <p:sldLayoutId id="2147483895" r:id="rId31"/>
    <p:sldLayoutId id="2147483896" r:id="rId32"/>
    <p:sldLayoutId id="2147483897" r:id="rId33"/>
    <p:sldLayoutId id="2147483898" r:id="rId34"/>
    <p:sldLayoutId id="2147483899" r:id="rId35"/>
    <p:sldLayoutId id="2147483900" r:id="rId36"/>
    <p:sldLayoutId id="2147483901" r:id="rId37"/>
    <p:sldLayoutId id="2147483902" r:id="rId38"/>
    <p:sldLayoutId id="2147483903" r:id="rId39"/>
    <p:sldLayoutId id="2147483904" r:id="rId40"/>
    <p:sldLayoutId id="2147483905" r:id="rId41"/>
    <p:sldLayoutId id="2147483906" r:id="rId42"/>
    <p:sldLayoutId id="2147483907" r:id="rId43"/>
    <p:sldLayoutId id="2147483908" r:id="rId44"/>
    <p:sldLayoutId id="2147483909" r:id="rId45"/>
    <p:sldLayoutId id="2147483910" r:id="rId46"/>
    <p:sldLayoutId id="2147483911" r:id="rId47"/>
    <p:sldLayoutId id="2147483912" r:id="rId48"/>
    <p:sldLayoutId id="2147483913" r:id="rId49"/>
    <p:sldLayoutId id="2147483914" r:id="rId50"/>
    <p:sldLayoutId id="2147483915" r:id="rId51"/>
    <p:sldLayoutId id="2147483916" r:id="rId52"/>
    <p:sldLayoutId id="2147483917" r:id="rId53"/>
    <p:sldLayoutId id="2147483918" r:id="rId54"/>
    <p:sldLayoutId id="2147483919" r:id="rId55"/>
    <p:sldLayoutId id="2147483920" r:id="rId56"/>
    <p:sldLayoutId id="2147483921" r:id="rId57"/>
    <p:sldLayoutId id="2147483922" r:id="rId58"/>
    <p:sldLayoutId id="2147483923" r:id="rId59"/>
    <p:sldLayoutId id="2147483924" r:id="rId60"/>
    <p:sldLayoutId id="2147483925" r:id="rId61"/>
    <p:sldLayoutId id="2147483926" r:id="rId62"/>
    <p:sldLayoutId id="2147483927" r:id="rId63"/>
    <p:sldLayoutId id="2147483928" r:id="rId64"/>
    <p:sldLayoutId id="2147483929" r:id="rId65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5pPr>
      <a:lvl6pPr marL="456939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6pPr>
      <a:lvl7pPr marL="913876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7pPr>
      <a:lvl8pPr marL="1370815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8pPr>
      <a:lvl9pPr marL="1827754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9pPr>
    </p:titleStyle>
    <p:bodyStyle>
      <a:lvl1pPr marL="342705" indent="-342705" algn="l" rtl="0" eaLnBrk="0" fontAlgn="base" hangingPunct="0">
        <a:spcBef>
          <a:spcPct val="0"/>
        </a:spcBef>
        <a:spcAft>
          <a:spcPts val="600"/>
        </a:spcAft>
        <a:defRPr sz="2000" b="1">
          <a:solidFill>
            <a:schemeClr val="tx2"/>
          </a:solidFill>
          <a:latin typeface="+mn-lt"/>
          <a:ea typeface="+mn-ea"/>
          <a:cs typeface="+mn-cs"/>
        </a:defRPr>
      </a:lvl1pPr>
      <a:lvl2pPr marL="318906" indent="-153901" algn="l" rtl="0" eaLnBrk="0" fontAlgn="base" hangingPunct="0">
        <a:spcBef>
          <a:spcPct val="0"/>
        </a:spcBef>
        <a:spcAft>
          <a:spcPts val="600"/>
        </a:spcAft>
        <a:buFont typeface="Wingdings" pitchFamily="2" charset="2"/>
        <a:buChar char="§"/>
        <a:defRPr>
          <a:solidFill>
            <a:schemeClr val="tx2"/>
          </a:solidFill>
          <a:latin typeface="+mn-lt"/>
        </a:defRPr>
      </a:lvl2pPr>
      <a:lvl3pPr marL="639396" indent="-153901" algn="l" rtl="0" eaLnBrk="0" fontAlgn="base" hangingPunct="0">
        <a:spcBef>
          <a:spcPct val="0"/>
        </a:spcBef>
        <a:spcAft>
          <a:spcPts val="600"/>
        </a:spcAft>
        <a:buFont typeface="Calibri" pitchFamily="34" charset="0"/>
        <a:buChar char="−"/>
        <a:defRPr>
          <a:solidFill>
            <a:schemeClr val="tx2"/>
          </a:solidFill>
          <a:latin typeface="+mn-lt"/>
        </a:defRPr>
      </a:lvl3pPr>
      <a:lvl4pPr marL="958301" indent="-153901" algn="l" rtl="0" eaLnBrk="0" fontAlgn="base" hangingPunct="0">
        <a:spcBef>
          <a:spcPct val="0"/>
        </a:spcBef>
        <a:spcAft>
          <a:spcPts val="600"/>
        </a:spcAft>
        <a:buSzPct val="100000"/>
        <a:buFont typeface="Calibri" pitchFamily="34" charset="0"/>
        <a:buChar char="•"/>
        <a:defRPr>
          <a:solidFill>
            <a:schemeClr val="tx2"/>
          </a:solidFill>
          <a:latin typeface="+mn-lt"/>
        </a:defRPr>
      </a:lvl4pPr>
      <a:lvl5pPr marL="1278794" indent="-153901" algn="l" rtl="0" eaLnBrk="0" fontAlgn="base" hangingPunct="0">
        <a:spcBef>
          <a:spcPct val="0"/>
        </a:spcBef>
        <a:spcAft>
          <a:spcPts val="600"/>
        </a:spcAft>
        <a:buSzPct val="50000"/>
        <a:buFont typeface="Courier New" pitchFamily="49" charset="0"/>
        <a:buChar char="o"/>
        <a:defRPr>
          <a:solidFill>
            <a:schemeClr val="tx2"/>
          </a:solidFill>
          <a:latin typeface="+mn-lt"/>
        </a:defRPr>
      </a:lvl5pPr>
      <a:lvl6pPr marL="1735732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6pPr>
      <a:lvl7pPr marL="2192671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7pPr>
      <a:lvl8pPr marL="2649609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8pPr>
      <a:lvl9pPr marL="3106547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9pPr>
    </p:bodyStyle>
    <p:otherStyle>
      <a:defPPr>
        <a:defRPr lang="pt-BR"/>
      </a:defPPr>
      <a:lvl1pPr marL="0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39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76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15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54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92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31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70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08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332656"/>
            <a:ext cx="854958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25604" name="Espaço Reservado para Texto 16"/>
          <p:cNvSpPr>
            <a:spLocks noGrp="1"/>
          </p:cNvSpPr>
          <p:nvPr>
            <p:ph type="body"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65" r:id="rId1"/>
    <p:sldLayoutId id="2147483966" r:id="rId2"/>
    <p:sldLayoutId id="2147483967" r:id="rId3"/>
    <p:sldLayoutId id="2147483969" r:id="rId4"/>
    <p:sldLayoutId id="2147483970" r:id="rId5"/>
    <p:sldLayoutId id="2147483971" r:id="rId6"/>
    <p:sldLayoutId id="2147483972" r:id="rId7"/>
    <p:sldLayoutId id="2147483973" r:id="rId8"/>
    <p:sldLayoutId id="2147483974" r:id="rId9"/>
    <p:sldLayoutId id="2147483975" r:id="rId10"/>
    <p:sldLayoutId id="2147483976" r:id="rId11"/>
    <p:sldLayoutId id="2147483977" r:id="rId12"/>
    <p:sldLayoutId id="2147483978" r:id="rId13"/>
    <p:sldLayoutId id="2147483979" r:id="rId14"/>
    <p:sldLayoutId id="2147483980" r:id="rId15"/>
    <p:sldLayoutId id="2147483981" r:id="rId16"/>
    <p:sldLayoutId id="2147483982" r:id="rId17"/>
    <p:sldLayoutId id="2147483983" r:id="rId18"/>
    <p:sldLayoutId id="2147483984" r:id="rId19"/>
    <p:sldLayoutId id="2147483986" r:id="rId20"/>
    <p:sldLayoutId id="2147483987" r:id="rId21"/>
    <p:sldLayoutId id="2147483988" r:id="rId22"/>
    <p:sldLayoutId id="2147483989" r:id="rId23"/>
    <p:sldLayoutId id="2147483990" r:id="rId24"/>
    <p:sldLayoutId id="2147483991" r:id="rId25"/>
    <p:sldLayoutId id="2147483992" r:id="rId26"/>
    <p:sldLayoutId id="2147483993" r:id="rId27"/>
    <p:sldLayoutId id="2147483994" r:id="rId28"/>
    <p:sldLayoutId id="2147483995" r:id="rId29"/>
    <p:sldLayoutId id="2147483996" r:id="rId30"/>
    <p:sldLayoutId id="2147483997" r:id="rId31"/>
    <p:sldLayoutId id="2147483998" r:id="rId32"/>
    <p:sldLayoutId id="2147483999" r:id="rId33"/>
    <p:sldLayoutId id="2147484000" r:id="rId34"/>
    <p:sldLayoutId id="2147484001" r:id="rId35"/>
    <p:sldLayoutId id="2147484002" r:id="rId36"/>
    <p:sldLayoutId id="2147484003" r:id="rId37"/>
    <p:sldLayoutId id="2147484004" r:id="rId38"/>
    <p:sldLayoutId id="2147484005" r:id="rId39"/>
    <p:sldLayoutId id="2147484006" r:id="rId40"/>
    <p:sldLayoutId id="2147484007" r:id="rId41"/>
    <p:sldLayoutId id="2147484008" r:id="rId42"/>
    <p:sldLayoutId id="2147484009" r:id="rId43"/>
    <p:sldLayoutId id="2147484010" r:id="rId44"/>
    <p:sldLayoutId id="2147484011" r:id="rId45"/>
    <p:sldLayoutId id="2147484012" r:id="rId46"/>
    <p:sldLayoutId id="2147484013" r:id="rId47"/>
    <p:sldLayoutId id="2147484014" r:id="rId48"/>
    <p:sldLayoutId id="2147484015" r:id="rId49"/>
    <p:sldLayoutId id="2147484016" r:id="rId50"/>
    <p:sldLayoutId id="2147484017" r:id="rId51"/>
    <p:sldLayoutId id="2147484018" r:id="rId52"/>
    <p:sldLayoutId id="2147484019" r:id="rId53"/>
    <p:sldLayoutId id="2147484020" r:id="rId54"/>
    <p:sldLayoutId id="2147484021" r:id="rId55"/>
    <p:sldLayoutId id="2147484022" r:id="rId56"/>
    <p:sldLayoutId id="2147484023" r:id="rId57"/>
    <p:sldLayoutId id="2147484024" r:id="rId58"/>
    <p:sldLayoutId id="2147484025" r:id="rId59"/>
    <p:sldLayoutId id="2147484026" r:id="rId60"/>
    <p:sldLayoutId id="2147484027" r:id="rId61"/>
    <p:sldLayoutId id="2147484028" r:id="rId62"/>
    <p:sldLayoutId id="2147484029" r:id="rId63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5pPr>
      <a:lvl6pPr marL="456939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6pPr>
      <a:lvl7pPr marL="913876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7pPr>
      <a:lvl8pPr marL="1370815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8pPr>
      <a:lvl9pPr marL="1827754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9pPr>
    </p:titleStyle>
    <p:bodyStyle>
      <a:lvl1pPr marL="342705" indent="-342705" algn="l" rtl="0" eaLnBrk="0" fontAlgn="base" hangingPunct="0">
        <a:spcBef>
          <a:spcPct val="0"/>
        </a:spcBef>
        <a:spcAft>
          <a:spcPts val="600"/>
        </a:spcAft>
        <a:defRPr sz="2000" b="1">
          <a:solidFill>
            <a:schemeClr val="tx2"/>
          </a:solidFill>
          <a:latin typeface="+mn-lt"/>
          <a:ea typeface="+mn-ea"/>
          <a:cs typeface="+mn-cs"/>
        </a:defRPr>
      </a:lvl1pPr>
      <a:lvl2pPr marL="318906" indent="-153901" algn="l" rtl="0" eaLnBrk="0" fontAlgn="base" hangingPunct="0">
        <a:spcBef>
          <a:spcPct val="0"/>
        </a:spcBef>
        <a:spcAft>
          <a:spcPts val="600"/>
        </a:spcAft>
        <a:buFont typeface="Wingdings" pitchFamily="2" charset="2"/>
        <a:buChar char="§"/>
        <a:defRPr>
          <a:solidFill>
            <a:schemeClr val="tx2"/>
          </a:solidFill>
          <a:latin typeface="+mn-lt"/>
        </a:defRPr>
      </a:lvl2pPr>
      <a:lvl3pPr marL="639396" indent="-153901" algn="l" rtl="0" eaLnBrk="0" fontAlgn="base" hangingPunct="0">
        <a:spcBef>
          <a:spcPct val="0"/>
        </a:spcBef>
        <a:spcAft>
          <a:spcPts val="600"/>
        </a:spcAft>
        <a:buFont typeface="Calibri" pitchFamily="34" charset="0"/>
        <a:buChar char="−"/>
        <a:defRPr>
          <a:solidFill>
            <a:schemeClr val="tx2"/>
          </a:solidFill>
          <a:latin typeface="+mn-lt"/>
        </a:defRPr>
      </a:lvl3pPr>
      <a:lvl4pPr marL="958301" indent="-153901" algn="l" rtl="0" eaLnBrk="0" fontAlgn="base" hangingPunct="0">
        <a:spcBef>
          <a:spcPct val="0"/>
        </a:spcBef>
        <a:spcAft>
          <a:spcPts val="600"/>
        </a:spcAft>
        <a:buSzPct val="100000"/>
        <a:buFont typeface="Calibri" pitchFamily="34" charset="0"/>
        <a:buChar char="•"/>
        <a:defRPr>
          <a:solidFill>
            <a:schemeClr val="tx2"/>
          </a:solidFill>
          <a:latin typeface="+mn-lt"/>
        </a:defRPr>
      </a:lvl4pPr>
      <a:lvl5pPr marL="1278794" indent="-153901" algn="l" rtl="0" eaLnBrk="0" fontAlgn="base" hangingPunct="0">
        <a:spcBef>
          <a:spcPct val="0"/>
        </a:spcBef>
        <a:spcAft>
          <a:spcPts val="600"/>
        </a:spcAft>
        <a:buSzPct val="50000"/>
        <a:buFont typeface="Courier New" pitchFamily="49" charset="0"/>
        <a:buChar char="o"/>
        <a:defRPr>
          <a:solidFill>
            <a:schemeClr val="tx2"/>
          </a:solidFill>
          <a:latin typeface="+mn-lt"/>
        </a:defRPr>
      </a:lvl5pPr>
      <a:lvl6pPr marL="1735732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6pPr>
      <a:lvl7pPr marL="2192671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7pPr>
      <a:lvl8pPr marL="2649609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8pPr>
      <a:lvl9pPr marL="3106547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9pPr>
    </p:bodyStyle>
    <p:otherStyle>
      <a:defPPr>
        <a:defRPr lang="pt-BR"/>
      </a:defPPr>
      <a:lvl1pPr marL="0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39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76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15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54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92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31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70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08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332656"/>
            <a:ext cx="854958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25604" name="Espaço Reservado para Texto 16"/>
          <p:cNvSpPr>
            <a:spLocks noGrp="1"/>
          </p:cNvSpPr>
          <p:nvPr>
            <p:ph type="body"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31" r:id="rId1"/>
    <p:sldLayoutId id="2147484032" r:id="rId2"/>
    <p:sldLayoutId id="2147484033" r:id="rId3"/>
    <p:sldLayoutId id="2147484034" r:id="rId4"/>
    <p:sldLayoutId id="2147484035" r:id="rId5"/>
    <p:sldLayoutId id="2147484036" r:id="rId6"/>
    <p:sldLayoutId id="2147484037" r:id="rId7"/>
    <p:sldLayoutId id="2147484038" r:id="rId8"/>
    <p:sldLayoutId id="2147484039" r:id="rId9"/>
    <p:sldLayoutId id="2147484040" r:id="rId10"/>
    <p:sldLayoutId id="2147484041" r:id="rId11"/>
    <p:sldLayoutId id="2147484042" r:id="rId12"/>
    <p:sldLayoutId id="2147484043" r:id="rId13"/>
    <p:sldLayoutId id="2147484044" r:id="rId14"/>
    <p:sldLayoutId id="2147484045" r:id="rId15"/>
    <p:sldLayoutId id="2147484046" r:id="rId16"/>
    <p:sldLayoutId id="2147484047" r:id="rId17"/>
    <p:sldLayoutId id="2147484048" r:id="rId18"/>
    <p:sldLayoutId id="2147484049" r:id="rId19"/>
    <p:sldLayoutId id="2147484050" r:id="rId20"/>
    <p:sldLayoutId id="2147484052" r:id="rId21"/>
    <p:sldLayoutId id="2147484053" r:id="rId22"/>
    <p:sldLayoutId id="2147484054" r:id="rId23"/>
    <p:sldLayoutId id="2147484055" r:id="rId24"/>
    <p:sldLayoutId id="2147484056" r:id="rId25"/>
    <p:sldLayoutId id="2147484057" r:id="rId26"/>
    <p:sldLayoutId id="2147484058" r:id="rId27"/>
    <p:sldLayoutId id="2147484059" r:id="rId28"/>
    <p:sldLayoutId id="2147484060" r:id="rId29"/>
    <p:sldLayoutId id="2147484061" r:id="rId30"/>
    <p:sldLayoutId id="2147484062" r:id="rId31"/>
    <p:sldLayoutId id="2147484063" r:id="rId32"/>
    <p:sldLayoutId id="2147484064" r:id="rId33"/>
    <p:sldLayoutId id="2147484065" r:id="rId34"/>
    <p:sldLayoutId id="2147484066" r:id="rId35"/>
    <p:sldLayoutId id="2147484067" r:id="rId36"/>
    <p:sldLayoutId id="2147484068" r:id="rId37"/>
    <p:sldLayoutId id="2147484069" r:id="rId38"/>
    <p:sldLayoutId id="2147484070" r:id="rId39"/>
    <p:sldLayoutId id="2147484071" r:id="rId40"/>
    <p:sldLayoutId id="2147484072" r:id="rId41"/>
    <p:sldLayoutId id="2147484073" r:id="rId42"/>
    <p:sldLayoutId id="2147484074" r:id="rId43"/>
    <p:sldLayoutId id="2147484075" r:id="rId44"/>
    <p:sldLayoutId id="2147484076" r:id="rId45"/>
    <p:sldLayoutId id="2147484077" r:id="rId46"/>
    <p:sldLayoutId id="2147484078" r:id="rId47"/>
    <p:sldLayoutId id="2147484079" r:id="rId48"/>
    <p:sldLayoutId id="2147484080" r:id="rId49"/>
    <p:sldLayoutId id="2147484081" r:id="rId50"/>
    <p:sldLayoutId id="2147484082" r:id="rId51"/>
    <p:sldLayoutId id="2147484083" r:id="rId52"/>
    <p:sldLayoutId id="2147484084" r:id="rId53"/>
    <p:sldLayoutId id="2147484085" r:id="rId54"/>
    <p:sldLayoutId id="2147484086" r:id="rId55"/>
    <p:sldLayoutId id="2147484087" r:id="rId56"/>
    <p:sldLayoutId id="2147484088" r:id="rId57"/>
    <p:sldLayoutId id="2147484089" r:id="rId58"/>
    <p:sldLayoutId id="2147484090" r:id="rId59"/>
    <p:sldLayoutId id="2147484091" r:id="rId60"/>
    <p:sldLayoutId id="2147484092" r:id="rId61"/>
    <p:sldLayoutId id="2147484093" r:id="rId62"/>
    <p:sldLayoutId id="2147484094" r:id="rId63"/>
    <p:sldLayoutId id="2147484095" r:id="rId64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5pPr>
      <a:lvl6pPr marL="456939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6pPr>
      <a:lvl7pPr marL="913876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7pPr>
      <a:lvl8pPr marL="1370815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8pPr>
      <a:lvl9pPr marL="1827754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9pPr>
    </p:titleStyle>
    <p:bodyStyle>
      <a:lvl1pPr marL="342705" indent="-342705" algn="l" rtl="0" eaLnBrk="0" fontAlgn="base" hangingPunct="0">
        <a:spcBef>
          <a:spcPct val="0"/>
        </a:spcBef>
        <a:spcAft>
          <a:spcPts val="600"/>
        </a:spcAft>
        <a:defRPr sz="2000" b="1">
          <a:solidFill>
            <a:schemeClr val="tx2"/>
          </a:solidFill>
          <a:latin typeface="+mn-lt"/>
          <a:ea typeface="+mn-ea"/>
          <a:cs typeface="+mn-cs"/>
        </a:defRPr>
      </a:lvl1pPr>
      <a:lvl2pPr marL="318906" indent="-153901" algn="l" rtl="0" eaLnBrk="0" fontAlgn="base" hangingPunct="0">
        <a:spcBef>
          <a:spcPct val="0"/>
        </a:spcBef>
        <a:spcAft>
          <a:spcPts val="600"/>
        </a:spcAft>
        <a:buFont typeface="Wingdings" pitchFamily="2" charset="2"/>
        <a:buChar char="§"/>
        <a:defRPr>
          <a:solidFill>
            <a:schemeClr val="tx2"/>
          </a:solidFill>
          <a:latin typeface="+mn-lt"/>
        </a:defRPr>
      </a:lvl2pPr>
      <a:lvl3pPr marL="639396" indent="-153901" algn="l" rtl="0" eaLnBrk="0" fontAlgn="base" hangingPunct="0">
        <a:spcBef>
          <a:spcPct val="0"/>
        </a:spcBef>
        <a:spcAft>
          <a:spcPts val="600"/>
        </a:spcAft>
        <a:buFont typeface="Calibri" pitchFamily="34" charset="0"/>
        <a:buChar char="−"/>
        <a:defRPr>
          <a:solidFill>
            <a:schemeClr val="tx2"/>
          </a:solidFill>
          <a:latin typeface="+mn-lt"/>
        </a:defRPr>
      </a:lvl3pPr>
      <a:lvl4pPr marL="958301" indent="-153901" algn="l" rtl="0" eaLnBrk="0" fontAlgn="base" hangingPunct="0">
        <a:spcBef>
          <a:spcPct val="0"/>
        </a:spcBef>
        <a:spcAft>
          <a:spcPts val="600"/>
        </a:spcAft>
        <a:buSzPct val="100000"/>
        <a:buFont typeface="Calibri" pitchFamily="34" charset="0"/>
        <a:buChar char="•"/>
        <a:defRPr>
          <a:solidFill>
            <a:schemeClr val="tx2"/>
          </a:solidFill>
          <a:latin typeface="+mn-lt"/>
        </a:defRPr>
      </a:lvl4pPr>
      <a:lvl5pPr marL="1278794" indent="-153901" algn="l" rtl="0" eaLnBrk="0" fontAlgn="base" hangingPunct="0">
        <a:spcBef>
          <a:spcPct val="0"/>
        </a:spcBef>
        <a:spcAft>
          <a:spcPts val="600"/>
        </a:spcAft>
        <a:buSzPct val="50000"/>
        <a:buFont typeface="Courier New" pitchFamily="49" charset="0"/>
        <a:buChar char="o"/>
        <a:defRPr>
          <a:solidFill>
            <a:schemeClr val="tx2"/>
          </a:solidFill>
          <a:latin typeface="+mn-lt"/>
        </a:defRPr>
      </a:lvl5pPr>
      <a:lvl6pPr marL="1735732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6pPr>
      <a:lvl7pPr marL="2192671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7pPr>
      <a:lvl8pPr marL="2649609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8pPr>
      <a:lvl9pPr marL="3106547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9pPr>
    </p:bodyStyle>
    <p:otherStyle>
      <a:defPPr>
        <a:defRPr lang="pt-BR"/>
      </a:defPPr>
      <a:lvl1pPr marL="0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39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76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15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54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92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31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70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08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332656"/>
            <a:ext cx="854958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25604" name="Espaço Reservado para Texto 16"/>
          <p:cNvSpPr>
            <a:spLocks noGrp="1"/>
          </p:cNvSpPr>
          <p:nvPr>
            <p:ph type="body"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70" r:id="rId1"/>
    <p:sldLayoutId id="2147484171" r:id="rId2"/>
    <p:sldLayoutId id="2147484172" r:id="rId3"/>
    <p:sldLayoutId id="2147484173" r:id="rId4"/>
    <p:sldLayoutId id="2147484174" r:id="rId5"/>
    <p:sldLayoutId id="2147484175" r:id="rId6"/>
    <p:sldLayoutId id="2147484176" r:id="rId7"/>
    <p:sldLayoutId id="2147484177" r:id="rId8"/>
    <p:sldLayoutId id="2147484178" r:id="rId9"/>
    <p:sldLayoutId id="2147484179" r:id="rId10"/>
    <p:sldLayoutId id="2147484180" r:id="rId11"/>
    <p:sldLayoutId id="2147484181" r:id="rId12"/>
    <p:sldLayoutId id="2147484182" r:id="rId13"/>
    <p:sldLayoutId id="2147484183" r:id="rId14"/>
    <p:sldLayoutId id="2147484184" r:id="rId15"/>
    <p:sldLayoutId id="2147484185" r:id="rId16"/>
    <p:sldLayoutId id="2147484186" r:id="rId17"/>
    <p:sldLayoutId id="2147484187" r:id="rId18"/>
    <p:sldLayoutId id="2147484188" r:id="rId19"/>
    <p:sldLayoutId id="2147484189" r:id="rId20"/>
    <p:sldLayoutId id="2147484191" r:id="rId21"/>
    <p:sldLayoutId id="2147484192" r:id="rId22"/>
    <p:sldLayoutId id="2147484193" r:id="rId23"/>
    <p:sldLayoutId id="2147484194" r:id="rId24"/>
    <p:sldLayoutId id="2147484195" r:id="rId25"/>
    <p:sldLayoutId id="2147484196" r:id="rId26"/>
    <p:sldLayoutId id="2147484197" r:id="rId27"/>
    <p:sldLayoutId id="2147484198" r:id="rId28"/>
    <p:sldLayoutId id="2147484199" r:id="rId29"/>
    <p:sldLayoutId id="2147484200" r:id="rId30"/>
    <p:sldLayoutId id="2147484201" r:id="rId31"/>
    <p:sldLayoutId id="2147484202" r:id="rId32"/>
    <p:sldLayoutId id="2147484203" r:id="rId33"/>
    <p:sldLayoutId id="2147484204" r:id="rId34"/>
    <p:sldLayoutId id="2147484205" r:id="rId35"/>
    <p:sldLayoutId id="2147484206" r:id="rId36"/>
    <p:sldLayoutId id="2147484207" r:id="rId37"/>
    <p:sldLayoutId id="2147484208" r:id="rId38"/>
    <p:sldLayoutId id="2147484209" r:id="rId39"/>
    <p:sldLayoutId id="2147484210" r:id="rId40"/>
    <p:sldLayoutId id="2147484211" r:id="rId41"/>
    <p:sldLayoutId id="2147484212" r:id="rId42"/>
    <p:sldLayoutId id="2147484213" r:id="rId43"/>
    <p:sldLayoutId id="2147484214" r:id="rId44"/>
    <p:sldLayoutId id="2147484215" r:id="rId45"/>
    <p:sldLayoutId id="2147484216" r:id="rId46"/>
    <p:sldLayoutId id="2147484217" r:id="rId47"/>
    <p:sldLayoutId id="2147484218" r:id="rId48"/>
    <p:sldLayoutId id="2147484219" r:id="rId49"/>
    <p:sldLayoutId id="2147484220" r:id="rId50"/>
    <p:sldLayoutId id="2147484221" r:id="rId51"/>
    <p:sldLayoutId id="2147484222" r:id="rId52"/>
    <p:sldLayoutId id="2147484223" r:id="rId53"/>
    <p:sldLayoutId id="2147484224" r:id="rId54"/>
    <p:sldLayoutId id="2147484225" r:id="rId55"/>
    <p:sldLayoutId id="2147484226" r:id="rId56"/>
    <p:sldLayoutId id="2147484227" r:id="rId57"/>
    <p:sldLayoutId id="2147484228" r:id="rId58"/>
    <p:sldLayoutId id="2147484229" r:id="rId59"/>
    <p:sldLayoutId id="2147484230" r:id="rId60"/>
    <p:sldLayoutId id="2147484231" r:id="rId61"/>
    <p:sldLayoutId id="2147484232" r:id="rId62"/>
    <p:sldLayoutId id="2147484233" r:id="rId63"/>
    <p:sldLayoutId id="2147484234" r:id="rId64"/>
    <p:sldLayoutId id="2147484235" r:id="rId65"/>
    <p:sldLayoutId id="2147484236" r:id="rId66"/>
    <p:sldLayoutId id="2147484237" r:id="rId67"/>
    <p:sldLayoutId id="2147484238" r:id="rId68"/>
    <p:sldLayoutId id="2147484239" r:id="rId69"/>
    <p:sldLayoutId id="2147484240" r:id="rId70"/>
    <p:sldLayoutId id="2147484241" r:id="rId71"/>
    <p:sldLayoutId id="2147484242" r:id="rId72"/>
    <p:sldLayoutId id="2147484243" r:id="rId73"/>
    <p:sldLayoutId id="2147484244" r:id="rId74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5pPr>
      <a:lvl6pPr marL="456939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6pPr>
      <a:lvl7pPr marL="913876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7pPr>
      <a:lvl8pPr marL="1370815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8pPr>
      <a:lvl9pPr marL="1827754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9pPr>
    </p:titleStyle>
    <p:bodyStyle>
      <a:lvl1pPr marL="342705" indent="-342705" algn="l" rtl="0" eaLnBrk="0" fontAlgn="base" hangingPunct="0">
        <a:spcBef>
          <a:spcPct val="0"/>
        </a:spcBef>
        <a:spcAft>
          <a:spcPts val="600"/>
        </a:spcAft>
        <a:defRPr sz="2000" b="1">
          <a:solidFill>
            <a:schemeClr val="tx2"/>
          </a:solidFill>
          <a:latin typeface="+mn-lt"/>
          <a:ea typeface="+mn-ea"/>
          <a:cs typeface="+mn-cs"/>
        </a:defRPr>
      </a:lvl1pPr>
      <a:lvl2pPr marL="318906" indent="-153901" algn="l" rtl="0" eaLnBrk="0" fontAlgn="base" hangingPunct="0">
        <a:spcBef>
          <a:spcPct val="0"/>
        </a:spcBef>
        <a:spcAft>
          <a:spcPts val="600"/>
        </a:spcAft>
        <a:buFont typeface="Wingdings" pitchFamily="2" charset="2"/>
        <a:buChar char="§"/>
        <a:defRPr>
          <a:solidFill>
            <a:schemeClr val="tx2"/>
          </a:solidFill>
          <a:latin typeface="+mn-lt"/>
        </a:defRPr>
      </a:lvl2pPr>
      <a:lvl3pPr marL="639396" indent="-153901" algn="l" rtl="0" eaLnBrk="0" fontAlgn="base" hangingPunct="0">
        <a:spcBef>
          <a:spcPct val="0"/>
        </a:spcBef>
        <a:spcAft>
          <a:spcPts val="600"/>
        </a:spcAft>
        <a:buFont typeface="Calibri" pitchFamily="34" charset="0"/>
        <a:buChar char="−"/>
        <a:defRPr>
          <a:solidFill>
            <a:schemeClr val="tx2"/>
          </a:solidFill>
          <a:latin typeface="+mn-lt"/>
        </a:defRPr>
      </a:lvl3pPr>
      <a:lvl4pPr marL="958301" indent="-153901" algn="l" rtl="0" eaLnBrk="0" fontAlgn="base" hangingPunct="0">
        <a:spcBef>
          <a:spcPct val="0"/>
        </a:spcBef>
        <a:spcAft>
          <a:spcPts val="600"/>
        </a:spcAft>
        <a:buSzPct val="100000"/>
        <a:buFont typeface="Calibri" pitchFamily="34" charset="0"/>
        <a:buChar char="•"/>
        <a:defRPr>
          <a:solidFill>
            <a:schemeClr val="tx2"/>
          </a:solidFill>
          <a:latin typeface="+mn-lt"/>
        </a:defRPr>
      </a:lvl4pPr>
      <a:lvl5pPr marL="1278794" indent="-153901" algn="l" rtl="0" eaLnBrk="0" fontAlgn="base" hangingPunct="0">
        <a:spcBef>
          <a:spcPct val="0"/>
        </a:spcBef>
        <a:spcAft>
          <a:spcPts val="600"/>
        </a:spcAft>
        <a:buSzPct val="50000"/>
        <a:buFont typeface="Courier New" pitchFamily="49" charset="0"/>
        <a:buChar char="o"/>
        <a:defRPr>
          <a:solidFill>
            <a:schemeClr val="tx2"/>
          </a:solidFill>
          <a:latin typeface="+mn-lt"/>
        </a:defRPr>
      </a:lvl5pPr>
      <a:lvl6pPr marL="1735732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6pPr>
      <a:lvl7pPr marL="2192671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7pPr>
      <a:lvl8pPr marL="2649609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8pPr>
      <a:lvl9pPr marL="3106547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9pPr>
    </p:bodyStyle>
    <p:otherStyle>
      <a:defPPr>
        <a:defRPr lang="pt-BR"/>
      </a:defPPr>
      <a:lvl1pPr marL="0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39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76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15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54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92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31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70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08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332656"/>
            <a:ext cx="854958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25604" name="Espaço Reservado para Texto 16"/>
          <p:cNvSpPr>
            <a:spLocks noGrp="1"/>
          </p:cNvSpPr>
          <p:nvPr>
            <p:ph type="body"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66" r:id="rId1"/>
    <p:sldLayoutId id="2147484267" r:id="rId2"/>
    <p:sldLayoutId id="2147484268" r:id="rId3"/>
    <p:sldLayoutId id="2147484269" r:id="rId4"/>
    <p:sldLayoutId id="2147484270" r:id="rId5"/>
    <p:sldLayoutId id="2147484271" r:id="rId6"/>
    <p:sldLayoutId id="2147484272" r:id="rId7"/>
    <p:sldLayoutId id="2147484273" r:id="rId8"/>
    <p:sldLayoutId id="2147484274" r:id="rId9"/>
    <p:sldLayoutId id="2147484275" r:id="rId10"/>
    <p:sldLayoutId id="2147484276" r:id="rId11"/>
    <p:sldLayoutId id="2147484277" r:id="rId12"/>
    <p:sldLayoutId id="2147484278" r:id="rId13"/>
    <p:sldLayoutId id="2147484279" r:id="rId14"/>
    <p:sldLayoutId id="2147484280" r:id="rId15"/>
    <p:sldLayoutId id="2147484281" r:id="rId16"/>
    <p:sldLayoutId id="2147484282" r:id="rId17"/>
    <p:sldLayoutId id="2147484283" r:id="rId18"/>
    <p:sldLayoutId id="2147484284" r:id="rId19"/>
    <p:sldLayoutId id="2147484285" r:id="rId20"/>
    <p:sldLayoutId id="2147484287" r:id="rId21"/>
    <p:sldLayoutId id="2147484288" r:id="rId22"/>
    <p:sldLayoutId id="2147484289" r:id="rId23"/>
    <p:sldLayoutId id="2147484290" r:id="rId24"/>
    <p:sldLayoutId id="2147484291" r:id="rId25"/>
    <p:sldLayoutId id="2147484292" r:id="rId26"/>
    <p:sldLayoutId id="2147484293" r:id="rId27"/>
    <p:sldLayoutId id="2147484294" r:id="rId28"/>
    <p:sldLayoutId id="2147484295" r:id="rId29"/>
    <p:sldLayoutId id="2147484296" r:id="rId30"/>
    <p:sldLayoutId id="2147484297" r:id="rId31"/>
    <p:sldLayoutId id="2147484298" r:id="rId32"/>
    <p:sldLayoutId id="2147484299" r:id="rId33"/>
    <p:sldLayoutId id="2147484300" r:id="rId34"/>
    <p:sldLayoutId id="2147484301" r:id="rId35"/>
    <p:sldLayoutId id="2147484302" r:id="rId36"/>
    <p:sldLayoutId id="2147484303" r:id="rId37"/>
    <p:sldLayoutId id="2147484304" r:id="rId38"/>
    <p:sldLayoutId id="2147484305" r:id="rId39"/>
    <p:sldLayoutId id="2147484306" r:id="rId40"/>
    <p:sldLayoutId id="2147484307" r:id="rId41"/>
    <p:sldLayoutId id="2147484308" r:id="rId42"/>
    <p:sldLayoutId id="2147484309" r:id="rId43"/>
    <p:sldLayoutId id="2147484310" r:id="rId44"/>
    <p:sldLayoutId id="2147484311" r:id="rId45"/>
    <p:sldLayoutId id="2147484312" r:id="rId46"/>
    <p:sldLayoutId id="2147484313" r:id="rId47"/>
    <p:sldLayoutId id="2147484314" r:id="rId48"/>
    <p:sldLayoutId id="2147484315" r:id="rId49"/>
    <p:sldLayoutId id="2147484316" r:id="rId50"/>
    <p:sldLayoutId id="2147484317" r:id="rId51"/>
    <p:sldLayoutId id="2147484318" r:id="rId52"/>
    <p:sldLayoutId id="2147484319" r:id="rId53"/>
    <p:sldLayoutId id="2147484320" r:id="rId54"/>
    <p:sldLayoutId id="2147484321" r:id="rId55"/>
    <p:sldLayoutId id="2147484322" r:id="rId56"/>
    <p:sldLayoutId id="2147484323" r:id="rId57"/>
    <p:sldLayoutId id="2147484324" r:id="rId58"/>
    <p:sldLayoutId id="2147484325" r:id="rId59"/>
    <p:sldLayoutId id="2147484326" r:id="rId60"/>
    <p:sldLayoutId id="2147484327" r:id="rId61"/>
    <p:sldLayoutId id="2147484328" r:id="rId62"/>
    <p:sldLayoutId id="2147484329" r:id="rId63"/>
    <p:sldLayoutId id="2147484330" r:id="rId64"/>
    <p:sldLayoutId id="2147484331" r:id="rId65"/>
    <p:sldLayoutId id="2147484332" r:id="rId66"/>
    <p:sldLayoutId id="2147484333" r:id="rId67"/>
    <p:sldLayoutId id="2147484334" r:id="rId68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5pPr>
      <a:lvl6pPr marL="456939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6pPr>
      <a:lvl7pPr marL="913876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7pPr>
      <a:lvl8pPr marL="1370815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8pPr>
      <a:lvl9pPr marL="1827754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9pPr>
    </p:titleStyle>
    <p:bodyStyle>
      <a:lvl1pPr marL="342705" indent="-342705" algn="l" rtl="0" eaLnBrk="0" fontAlgn="base" hangingPunct="0">
        <a:spcBef>
          <a:spcPct val="0"/>
        </a:spcBef>
        <a:spcAft>
          <a:spcPts val="600"/>
        </a:spcAft>
        <a:defRPr sz="2000" b="1">
          <a:solidFill>
            <a:schemeClr val="tx2"/>
          </a:solidFill>
          <a:latin typeface="+mn-lt"/>
          <a:ea typeface="+mn-ea"/>
          <a:cs typeface="+mn-cs"/>
        </a:defRPr>
      </a:lvl1pPr>
      <a:lvl2pPr marL="318906" indent="-153901" algn="l" rtl="0" eaLnBrk="0" fontAlgn="base" hangingPunct="0">
        <a:spcBef>
          <a:spcPct val="0"/>
        </a:spcBef>
        <a:spcAft>
          <a:spcPts val="600"/>
        </a:spcAft>
        <a:buFont typeface="Wingdings" pitchFamily="2" charset="2"/>
        <a:buChar char="§"/>
        <a:defRPr>
          <a:solidFill>
            <a:schemeClr val="tx2"/>
          </a:solidFill>
          <a:latin typeface="+mn-lt"/>
        </a:defRPr>
      </a:lvl2pPr>
      <a:lvl3pPr marL="639396" indent="-153901" algn="l" rtl="0" eaLnBrk="0" fontAlgn="base" hangingPunct="0">
        <a:spcBef>
          <a:spcPct val="0"/>
        </a:spcBef>
        <a:spcAft>
          <a:spcPts val="600"/>
        </a:spcAft>
        <a:buFont typeface="Calibri" pitchFamily="34" charset="0"/>
        <a:buChar char="−"/>
        <a:defRPr>
          <a:solidFill>
            <a:schemeClr val="tx2"/>
          </a:solidFill>
          <a:latin typeface="+mn-lt"/>
        </a:defRPr>
      </a:lvl3pPr>
      <a:lvl4pPr marL="958301" indent="-153901" algn="l" rtl="0" eaLnBrk="0" fontAlgn="base" hangingPunct="0">
        <a:spcBef>
          <a:spcPct val="0"/>
        </a:spcBef>
        <a:spcAft>
          <a:spcPts val="600"/>
        </a:spcAft>
        <a:buSzPct val="100000"/>
        <a:buFont typeface="Calibri" pitchFamily="34" charset="0"/>
        <a:buChar char="•"/>
        <a:defRPr>
          <a:solidFill>
            <a:schemeClr val="tx2"/>
          </a:solidFill>
          <a:latin typeface="+mn-lt"/>
        </a:defRPr>
      </a:lvl4pPr>
      <a:lvl5pPr marL="1278794" indent="-153901" algn="l" rtl="0" eaLnBrk="0" fontAlgn="base" hangingPunct="0">
        <a:spcBef>
          <a:spcPct val="0"/>
        </a:spcBef>
        <a:spcAft>
          <a:spcPts val="600"/>
        </a:spcAft>
        <a:buSzPct val="50000"/>
        <a:buFont typeface="Courier New" pitchFamily="49" charset="0"/>
        <a:buChar char="o"/>
        <a:defRPr>
          <a:solidFill>
            <a:schemeClr val="tx2"/>
          </a:solidFill>
          <a:latin typeface="+mn-lt"/>
        </a:defRPr>
      </a:lvl5pPr>
      <a:lvl6pPr marL="1735732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6pPr>
      <a:lvl7pPr marL="2192671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7pPr>
      <a:lvl8pPr marL="2649609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8pPr>
      <a:lvl9pPr marL="3106547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9pPr>
    </p:bodyStyle>
    <p:otherStyle>
      <a:defPPr>
        <a:defRPr lang="pt-BR"/>
      </a:defPPr>
      <a:lvl1pPr marL="0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39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76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15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54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92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31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70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08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Title Placeholder 1"/>
          <p:cNvSpPr>
            <a:spLocks noGrp="1"/>
          </p:cNvSpPr>
          <p:nvPr>
            <p:ph type="title"/>
          </p:nvPr>
        </p:nvSpPr>
        <p:spPr bwMode="auto">
          <a:xfrm>
            <a:off x="342900" y="332656"/>
            <a:ext cx="854958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25604" name="Espaço Reservado para Texto 16"/>
          <p:cNvSpPr>
            <a:spLocks noGrp="1"/>
          </p:cNvSpPr>
          <p:nvPr>
            <p:ph type="body"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5" rIns="91387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TYLES OF MASTER TEXT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53" r:id="rId1"/>
    <p:sldLayoutId id="2147484354" r:id="rId2"/>
    <p:sldLayoutId id="2147484355" r:id="rId3"/>
    <p:sldLayoutId id="2147484356" r:id="rId4"/>
    <p:sldLayoutId id="2147484357" r:id="rId5"/>
    <p:sldLayoutId id="2147484358" r:id="rId6"/>
    <p:sldLayoutId id="2147484359" r:id="rId7"/>
    <p:sldLayoutId id="2147484360" r:id="rId8"/>
    <p:sldLayoutId id="2147484361" r:id="rId9"/>
    <p:sldLayoutId id="2147484362" r:id="rId10"/>
    <p:sldLayoutId id="2147484363" r:id="rId11"/>
    <p:sldLayoutId id="2147484364" r:id="rId12"/>
    <p:sldLayoutId id="2147484365" r:id="rId13"/>
    <p:sldLayoutId id="2147484366" r:id="rId14"/>
    <p:sldLayoutId id="2147484367" r:id="rId15"/>
    <p:sldLayoutId id="2147484368" r:id="rId16"/>
    <p:sldLayoutId id="2147484369" r:id="rId17"/>
    <p:sldLayoutId id="2147484370" r:id="rId18"/>
    <p:sldLayoutId id="2147484371" r:id="rId19"/>
    <p:sldLayoutId id="2147484372" r:id="rId20"/>
    <p:sldLayoutId id="2147484374" r:id="rId21"/>
    <p:sldLayoutId id="2147484375" r:id="rId22"/>
    <p:sldLayoutId id="2147484376" r:id="rId23"/>
    <p:sldLayoutId id="2147484377" r:id="rId24"/>
    <p:sldLayoutId id="2147484378" r:id="rId25"/>
    <p:sldLayoutId id="2147484379" r:id="rId26"/>
    <p:sldLayoutId id="2147484380" r:id="rId27"/>
    <p:sldLayoutId id="2147484381" r:id="rId28"/>
    <p:sldLayoutId id="2147484382" r:id="rId29"/>
    <p:sldLayoutId id="2147484383" r:id="rId30"/>
    <p:sldLayoutId id="2147484384" r:id="rId31"/>
    <p:sldLayoutId id="2147484385" r:id="rId32"/>
    <p:sldLayoutId id="2147484386" r:id="rId33"/>
    <p:sldLayoutId id="2147484387" r:id="rId34"/>
    <p:sldLayoutId id="2147484388" r:id="rId35"/>
    <p:sldLayoutId id="2147484389" r:id="rId36"/>
    <p:sldLayoutId id="2147484390" r:id="rId37"/>
    <p:sldLayoutId id="2147484391" r:id="rId38"/>
    <p:sldLayoutId id="2147484392" r:id="rId39"/>
    <p:sldLayoutId id="2147484393" r:id="rId40"/>
    <p:sldLayoutId id="2147484394" r:id="rId41"/>
    <p:sldLayoutId id="2147484395" r:id="rId42"/>
    <p:sldLayoutId id="2147484396" r:id="rId43"/>
    <p:sldLayoutId id="2147484397" r:id="rId44"/>
    <p:sldLayoutId id="2147484398" r:id="rId45"/>
    <p:sldLayoutId id="2147484399" r:id="rId46"/>
    <p:sldLayoutId id="2147484400" r:id="rId47"/>
    <p:sldLayoutId id="2147484401" r:id="rId48"/>
    <p:sldLayoutId id="2147484402" r:id="rId49"/>
    <p:sldLayoutId id="2147484403" r:id="rId50"/>
    <p:sldLayoutId id="2147484404" r:id="rId51"/>
    <p:sldLayoutId id="2147484405" r:id="rId52"/>
    <p:sldLayoutId id="2147484406" r:id="rId53"/>
    <p:sldLayoutId id="2147484407" r:id="rId54"/>
    <p:sldLayoutId id="2147484408" r:id="rId55"/>
    <p:sldLayoutId id="2147484409" r:id="rId56"/>
    <p:sldLayoutId id="2147484410" r:id="rId57"/>
    <p:sldLayoutId id="2147484411" r:id="rId58"/>
    <p:sldLayoutId id="2147484412" r:id="rId59"/>
    <p:sldLayoutId id="2147484413" r:id="rId60"/>
    <p:sldLayoutId id="2147484414" r:id="rId61"/>
    <p:sldLayoutId id="2147484415" r:id="rId62"/>
    <p:sldLayoutId id="2147484416" r:id="rId63"/>
    <p:sldLayoutId id="2147484417" r:id="rId64"/>
    <p:sldLayoutId id="2147484418" r:id="rId65"/>
    <p:sldLayoutId id="2147484419" r:id="rId66"/>
    <p:sldLayoutId id="2147484420" r:id="rId67"/>
    <p:sldLayoutId id="2147484421" r:id="rId68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5pPr>
      <a:lvl6pPr marL="456939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6pPr>
      <a:lvl7pPr marL="913876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7pPr>
      <a:lvl8pPr marL="1370815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8pPr>
      <a:lvl9pPr marL="1827754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Calibri" pitchFamily="34" charset="0"/>
        </a:defRPr>
      </a:lvl9pPr>
    </p:titleStyle>
    <p:bodyStyle>
      <a:lvl1pPr marL="342705" indent="-342705" algn="l" rtl="0" eaLnBrk="0" fontAlgn="base" hangingPunct="0">
        <a:spcBef>
          <a:spcPct val="0"/>
        </a:spcBef>
        <a:spcAft>
          <a:spcPts val="600"/>
        </a:spcAft>
        <a:defRPr sz="2000" b="1">
          <a:solidFill>
            <a:schemeClr val="tx2"/>
          </a:solidFill>
          <a:latin typeface="+mn-lt"/>
          <a:ea typeface="+mn-ea"/>
          <a:cs typeface="+mn-cs"/>
        </a:defRPr>
      </a:lvl1pPr>
      <a:lvl2pPr marL="318906" indent="-153901" algn="l" rtl="0" eaLnBrk="0" fontAlgn="base" hangingPunct="0">
        <a:spcBef>
          <a:spcPct val="0"/>
        </a:spcBef>
        <a:spcAft>
          <a:spcPts val="600"/>
        </a:spcAft>
        <a:buFont typeface="Wingdings" pitchFamily="2" charset="2"/>
        <a:buChar char="§"/>
        <a:defRPr>
          <a:solidFill>
            <a:schemeClr val="tx2"/>
          </a:solidFill>
          <a:latin typeface="+mn-lt"/>
        </a:defRPr>
      </a:lvl2pPr>
      <a:lvl3pPr marL="639396" indent="-153901" algn="l" rtl="0" eaLnBrk="0" fontAlgn="base" hangingPunct="0">
        <a:spcBef>
          <a:spcPct val="0"/>
        </a:spcBef>
        <a:spcAft>
          <a:spcPts val="600"/>
        </a:spcAft>
        <a:buFont typeface="Calibri" pitchFamily="34" charset="0"/>
        <a:buChar char="−"/>
        <a:defRPr>
          <a:solidFill>
            <a:schemeClr val="tx2"/>
          </a:solidFill>
          <a:latin typeface="+mn-lt"/>
        </a:defRPr>
      </a:lvl3pPr>
      <a:lvl4pPr marL="958301" indent="-153901" algn="l" rtl="0" eaLnBrk="0" fontAlgn="base" hangingPunct="0">
        <a:spcBef>
          <a:spcPct val="0"/>
        </a:spcBef>
        <a:spcAft>
          <a:spcPts val="600"/>
        </a:spcAft>
        <a:buSzPct val="100000"/>
        <a:buFont typeface="Calibri" pitchFamily="34" charset="0"/>
        <a:buChar char="•"/>
        <a:defRPr>
          <a:solidFill>
            <a:schemeClr val="tx2"/>
          </a:solidFill>
          <a:latin typeface="+mn-lt"/>
        </a:defRPr>
      </a:lvl4pPr>
      <a:lvl5pPr marL="1278794" indent="-153901" algn="l" rtl="0" eaLnBrk="0" fontAlgn="base" hangingPunct="0">
        <a:spcBef>
          <a:spcPct val="0"/>
        </a:spcBef>
        <a:spcAft>
          <a:spcPts val="600"/>
        </a:spcAft>
        <a:buSzPct val="50000"/>
        <a:buFont typeface="Courier New" pitchFamily="49" charset="0"/>
        <a:buChar char="o"/>
        <a:defRPr>
          <a:solidFill>
            <a:schemeClr val="tx2"/>
          </a:solidFill>
          <a:latin typeface="+mn-lt"/>
        </a:defRPr>
      </a:lvl5pPr>
      <a:lvl6pPr marL="1735732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6pPr>
      <a:lvl7pPr marL="2192671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7pPr>
      <a:lvl8pPr marL="2649609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8pPr>
      <a:lvl9pPr marL="3106547" indent="-153901" algn="l" rtl="0" fontAlgn="base">
        <a:spcBef>
          <a:spcPct val="0"/>
        </a:spcBef>
        <a:spcAft>
          <a:spcPts val="600"/>
        </a:spcAft>
        <a:buFont typeface="Calibri" pitchFamily="34" charset="0"/>
        <a:buChar char="&gt;"/>
        <a:defRPr>
          <a:solidFill>
            <a:schemeClr val="tx2"/>
          </a:solidFill>
          <a:latin typeface="+mn-lt"/>
        </a:defRPr>
      </a:lvl9pPr>
    </p:bodyStyle>
    <p:otherStyle>
      <a:defPPr>
        <a:defRPr lang="pt-BR"/>
      </a:defPPr>
      <a:lvl1pPr marL="0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39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76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15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54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92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31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70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08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lin.edu/academics/curriculum/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2.xml"/><Relationship Id="rId5" Type="http://schemas.openxmlformats.org/officeDocument/2006/relationships/image" Target="../media/image39.png"/><Relationship Id="rId4" Type="http://schemas.openxmlformats.org/officeDocument/2006/relationships/hyperlink" Target="Affordable_Design_amp_Entrepreneurship.mp4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hackingmedicine.mit.edu/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13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13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technologyreview.com/article/427524/three-months-6500-and-billions-of-hours-of-fun/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2.xml"/><Relationship Id="rId5" Type="http://schemas.openxmlformats.org/officeDocument/2006/relationships/hyperlink" Target="http://hackingmedicine.mit.edu/" TargetMode="External"/><Relationship Id="rId4" Type="http://schemas.openxmlformats.org/officeDocument/2006/relationships/hyperlink" Target="http://www.olin.edu/academics/curriculum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3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7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2.xml"/><Relationship Id="rId6" Type="http://schemas.openxmlformats.org/officeDocument/2006/relationships/image" Target="../media/image36.emf"/><Relationship Id="rId5" Type="http://schemas.openxmlformats.org/officeDocument/2006/relationships/image" Target="../media/image35.png"/><Relationship Id="rId4" Type="http://schemas.openxmlformats.org/officeDocument/2006/relationships/image" Target="../media/image34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Why_we_should_all_hack_medicine_Lina_Colucci_TEDxBrussels.mp4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2.xml"/><Relationship Id="rId4" Type="http://schemas.openxmlformats.org/officeDocument/2006/relationships/image" Target="../media/image3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/>
        </p:nvSpPr>
        <p:spPr>
          <a:xfrm>
            <a:off x="230562" y="4756502"/>
            <a:ext cx="8667778" cy="866379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3000" b="1" dirty="0" smtClean="0">
                <a:solidFill>
                  <a:srgbClr val="008791"/>
                </a:solidFill>
                <a:latin typeface="Tahoma"/>
                <a:cs typeface="Tahoma"/>
              </a:rPr>
              <a:t>Engenharia 2025</a:t>
            </a:r>
          </a:p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b="1" dirty="0" smtClean="0">
                <a:solidFill>
                  <a:srgbClr val="008791"/>
                </a:solidFill>
                <a:latin typeface="Tahoma" pitchFamily="34" charset="0"/>
                <a:cs typeface="Tahoma" pitchFamily="34" charset="0"/>
              </a:rPr>
              <a:t>Universidades agregando valor à sociedade</a:t>
            </a:r>
            <a:endParaRPr lang="pt-BR" b="1" dirty="0">
              <a:solidFill>
                <a:srgbClr val="008791"/>
              </a:solidFill>
              <a:latin typeface="Tahoma"/>
              <a:cs typeface="Tahoma"/>
            </a:endParaRPr>
          </a:p>
        </p:txBody>
      </p:sp>
      <p:pic>
        <p:nvPicPr>
          <p:cNvPr id="18124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7938" y="-15875"/>
            <a:ext cx="9159876" cy="4664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/>
          <p:cNvSpPr txBox="1">
            <a:spLocks/>
          </p:cNvSpPr>
          <p:nvPr/>
        </p:nvSpPr>
        <p:spPr>
          <a:xfrm>
            <a:off x="457200" y="304800"/>
            <a:ext cx="8229600" cy="750888"/>
          </a:xfrm>
          <a:prstGeom prst="rect">
            <a:avLst/>
          </a:prstGeom>
        </p:spPr>
        <p:txBody>
          <a:bodyPr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pt-BR" sz="28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egócios vencedores</a:t>
            </a:r>
            <a:endParaRPr lang="pt-BR" sz="2800" dirty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6" name="Rectangle 17"/>
          <p:cNvSpPr/>
          <p:nvPr/>
        </p:nvSpPr>
        <p:spPr>
          <a:xfrm>
            <a:off x="0" y="5733256"/>
            <a:ext cx="9144000" cy="604837"/>
          </a:xfrm>
          <a:prstGeom prst="rect">
            <a:avLst/>
          </a:prstGeom>
          <a:solidFill>
            <a:srgbClr val="66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Universidades devem se adaptar para ATENDER e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também SER um negócio vencedor</a:t>
            </a:r>
            <a:endParaRPr lang="pt-BR" sz="2000" dirty="0">
              <a:solidFill>
                <a:srgbClr val="FFC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7" name="CaixaDeTexto 2"/>
          <p:cNvSpPr txBox="1"/>
          <p:nvPr/>
        </p:nvSpPr>
        <p:spPr>
          <a:xfrm>
            <a:off x="395536" y="1052736"/>
            <a:ext cx="8496944" cy="5109091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Ø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LIDERANÇA em seus produtos ou serviços: </a:t>
            </a:r>
          </a:p>
          <a:p>
            <a:pPr lvl="1">
              <a:buFont typeface="Wingdings" pitchFamily="2" charset="2"/>
              <a:buChar char="Ø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Velocidade</a:t>
            </a:r>
          </a:p>
          <a:p>
            <a:pPr lvl="1">
              <a:buFont typeface="Wingdings" pitchFamily="2" charset="2"/>
              <a:buChar char="Ø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Simplificação / Redução de Complexidade</a:t>
            </a:r>
          </a:p>
          <a:p>
            <a:pPr lvl="1">
              <a:buFont typeface="Wingdings" pitchFamily="2" charset="2"/>
              <a:buChar char="Ø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Experimentação rápida</a:t>
            </a:r>
          </a:p>
          <a:p>
            <a:pPr lvl="1">
              <a:buFont typeface="Wingdings" pitchFamily="2" charset="2"/>
              <a:buChar char="Ø"/>
              <a:defRPr/>
            </a:pPr>
            <a:endParaRPr lang="pt-BR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buFont typeface="Wingdings" pitchFamily="2" charset="2"/>
              <a:buChar char="Ø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EXECUÇÃO disciplinada e sem falhas (Projetos e Estratégia)</a:t>
            </a:r>
          </a:p>
          <a:p>
            <a:pPr>
              <a:buFont typeface="Wingdings" pitchFamily="2" charset="2"/>
              <a:buChar char="Ø"/>
              <a:defRPr/>
            </a:pPr>
            <a:endParaRPr lang="pt-BR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buFont typeface="Wingdings" pitchFamily="2" charset="2"/>
              <a:buChar char="Ø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INTEGRAÇÃO interna (Equipe) e externa (conectividade e </a:t>
            </a:r>
            <a:r>
              <a:rPr lang="pt-BR" dirty="0" err="1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oT</a:t>
            </a: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– Internet das Coisas )</a:t>
            </a:r>
          </a:p>
          <a:p>
            <a:pPr>
              <a:buFont typeface="Wingdings" pitchFamily="2" charset="2"/>
              <a:buChar char="Ø"/>
              <a:defRPr/>
            </a:pPr>
            <a:endParaRPr lang="pt-BR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buFont typeface="Wingdings" pitchFamily="2" charset="2"/>
              <a:buChar char="Ø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Orientação para CLIENTES para entender as necessidades e expectativas (</a:t>
            </a:r>
            <a:r>
              <a:rPr lang="pt-BR" dirty="0" err="1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JtBD</a:t>
            </a: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)*</a:t>
            </a:r>
          </a:p>
          <a:p>
            <a:pPr>
              <a:buFont typeface="Wingdings" pitchFamily="2" charset="2"/>
              <a:buChar char="Ø"/>
              <a:defRPr/>
            </a:pPr>
            <a:endParaRPr lang="pt-BR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0" lvl="1">
              <a:buFont typeface="Wingdings" pitchFamily="2" charset="2"/>
              <a:buChar char="Ø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Foco em aumento RENTABILIDADE  (PMR)  e redução drástica de</a:t>
            </a:r>
            <a:r>
              <a:rPr lang="pt-BR" sz="2000" b="1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USTOS</a:t>
            </a:r>
          </a:p>
          <a:p>
            <a:pPr marL="0" lvl="1">
              <a:buFont typeface="Wingdings" pitchFamily="2" charset="2"/>
              <a:buChar char="Ø"/>
              <a:defRPr/>
            </a:pPr>
            <a:endParaRPr lang="pt-BR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0" lvl="1">
              <a:buFont typeface="Wingdings" pitchFamily="2" charset="2"/>
              <a:buChar char="Ø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ADAPTABILIDADE às mudanças e novas realidades</a:t>
            </a:r>
          </a:p>
          <a:p>
            <a:pPr marL="0" lvl="1">
              <a:buFont typeface="Wingdings" pitchFamily="2" charset="2"/>
              <a:buChar char="Ø"/>
              <a:defRPr/>
            </a:pPr>
            <a:endParaRPr lang="pt-BR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0" lvl="1">
              <a:defRPr/>
            </a:pPr>
            <a:endParaRPr lang="pt-BR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8" name="CaixaDeTexto 2"/>
          <p:cNvSpPr txBox="1"/>
          <p:nvPr/>
        </p:nvSpPr>
        <p:spPr>
          <a:xfrm>
            <a:off x="755576" y="6487452"/>
            <a:ext cx="8496944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pt-BR" sz="12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* </a:t>
            </a:r>
            <a:r>
              <a:rPr lang="pt-BR" sz="1200" dirty="0" err="1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Job</a:t>
            </a:r>
            <a:r>
              <a:rPr lang="pt-BR" sz="12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to </a:t>
            </a:r>
            <a:r>
              <a:rPr lang="pt-BR" sz="1200" dirty="0" err="1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e</a:t>
            </a:r>
            <a:r>
              <a:rPr lang="pt-BR" sz="12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pt-BR" sz="1200" dirty="0" err="1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one</a:t>
            </a:r>
            <a:endParaRPr lang="pt-BR" sz="1200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tângulo 34"/>
          <p:cNvSpPr/>
          <p:nvPr/>
        </p:nvSpPr>
        <p:spPr bwMode="auto">
          <a:xfrm>
            <a:off x="323528" y="3140968"/>
            <a:ext cx="5760640" cy="1080120"/>
          </a:xfrm>
          <a:prstGeom prst="rect">
            <a:avLst/>
          </a:prstGeom>
          <a:solidFill>
            <a:srgbClr val="BDD39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3399FF"/>
              </a:buClr>
              <a:buSzTx/>
              <a:buFontTx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2" name="Title 1"/>
          <p:cNvSpPr txBox="1">
            <a:spLocks/>
          </p:cNvSpPr>
          <p:nvPr/>
        </p:nvSpPr>
        <p:spPr>
          <a:xfrm>
            <a:off x="457200" y="304800"/>
            <a:ext cx="8229600" cy="750888"/>
          </a:xfrm>
          <a:prstGeom prst="rect">
            <a:avLst/>
          </a:prstGeom>
        </p:spPr>
        <p:txBody>
          <a:bodyPr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pt-BR" sz="28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ipos de conhecimentos e habilidades</a:t>
            </a:r>
            <a:endParaRPr lang="pt-BR" sz="2800" dirty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6" name="Rectangle 17"/>
          <p:cNvSpPr/>
          <p:nvPr/>
        </p:nvSpPr>
        <p:spPr>
          <a:xfrm>
            <a:off x="0" y="5776491"/>
            <a:ext cx="9144000" cy="604837"/>
          </a:xfrm>
          <a:prstGeom prst="rect">
            <a:avLst/>
          </a:prstGeom>
          <a:solidFill>
            <a:srgbClr val="66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Aprender a identificar o problema certo e relevante é cada vez mais importante para direcionar o aprendizado</a:t>
            </a:r>
            <a:endParaRPr lang="pt-BR" sz="2000" dirty="0">
              <a:solidFill>
                <a:srgbClr val="FFC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1" name="Conector reto 10"/>
          <p:cNvCxnSpPr/>
          <p:nvPr/>
        </p:nvCxnSpPr>
        <p:spPr bwMode="auto">
          <a:xfrm>
            <a:off x="611560" y="3049216"/>
            <a:ext cx="8136904" cy="0"/>
          </a:xfrm>
          <a:prstGeom prst="line">
            <a:avLst/>
          </a:prstGeom>
          <a:noFill/>
          <a:ln w="2540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CaixaDeTexto 16"/>
          <p:cNvSpPr txBox="1"/>
          <p:nvPr/>
        </p:nvSpPr>
        <p:spPr>
          <a:xfrm>
            <a:off x="323528" y="3121224"/>
            <a:ext cx="1584176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342900" marR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pt-BR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Ferramentas</a:t>
            </a:r>
          </a:p>
        </p:txBody>
      </p:sp>
      <p:sp>
        <p:nvSpPr>
          <p:cNvPr id="18" name="CaixaDeTexto 17"/>
          <p:cNvSpPr txBox="1"/>
          <p:nvPr/>
        </p:nvSpPr>
        <p:spPr>
          <a:xfrm>
            <a:off x="2051720" y="3153162"/>
            <a:ext cx="2160240" cy="58477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342900" marR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pt-BR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Métodos para Solução</a:t>
            </a:r>
          </a:p>
        </p:txBody>
      </p:sp>
      <p:sp>
        <p:nvSpPr>
          <p:cNvPr id="19" name="CaixaDeTexto 18"/>
          <p:cNvSpPr txBox="1"/>
          <p:nvPr/>
        </p:nvSpPr>
        <p:spPr>
          <a:xfrm>
            <a:off x="3923928" y="3153162"/>
            <a:ext cx="2016224" cy="58477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342900" marR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pt-BR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Identificação de Problemas</a:t>
            </a:r>
          </a:p>
        </p:txBody>
      </p:sp>
      <p:sp>
        <p:nvSpPr>
          <p:cNvPr id="27" name="Seta para baixo 26"/>
          <p:cNvSpPr/>
          <p:nvPr/>
        </p:nvSpPr>
        <p:spPr bwMode="auto">
          <a:xfrm rot="10800000">
            <a:off x="467544" y="1340768"/>
            <a:ext cx="936104" cy="1656184"/>
          </a:xfrm>
          <a:prstGeom prst="downArrow">
            <a:avLst/>
          </a:prstGeom>
          <a:noFill/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prstShdw prst="shdw17" dist="17961" dir="2700000">
              <a:srgbClr val="FF9900">
                <a:gamma/>
                <a:shade val="60000"/>
                <a:invGamma/>
              </a:srgbClr>
            </a:prstShdw>
          </a:effectLst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3399FF"/>
              </a:buClr>
              <a:buSzTx/>
              <a:buFontTx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8" name="Seta para baixo 27"/>
          <p:cNvSpPr/>
          <p:nvPr/>
        </p:nvSpPr>
        <p:spPr bwMode="auto">
          <a:xfrm rot="10800000">
            <a:off x="4211960" y="2636912"/>
            <a:ext cx="936104" cy="360040"/>
          </a:xfrm>
          <a:prstGeom prst="downArrow">
            <a:avLst>
              <a:gd name="adj1" fmla="val 56737"/>
              <a:gd name="adj2" fmla="val 107692"/>
            </a:avLst>
          </a:prstGeom>
          <a:noFill/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prstShdw prst="shdw17" dist="17961" dir="2700000">
              <a:srgbClr val="FF9900">
                <a:gamma/>
                <a:shade val="60000"/>
                <a:invGamma/>
              </a:srgbClr>
            </a:prstShdw>
          </a:effectLst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3399FF"/>
              </a:buClr>
              <a:buSzTx/>
              <a:buFontTx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9" name="Seta para baixo 28"/>
          <p:cNvSpPr/>
          <p:nvPr/>
        </p:nvSpPr>
        <p:spPr bwMode="auto">
          <a:xfrm rot="10800000">
            <a:off x="2267745" y="2348880"/>
            <a:ext cx="936104" cy="648071"/>
          </a:xfrm>
          <a:prstGeom prst="downArrow">
            <a:avLst/>
          </a:prstGeom>
          <a:noFill/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prstShdw prst="shdw17" dist="17961" dir="2700000">
              <a:srgbClr val="FF9900">
                <a:gamma/>
                <a:shade val="60000"/>
                <a:invGamma/>
              </a:srgbClr>
            </a:prstShdw>
          </a:effectLst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3399FF"/>
              </a:buClr>
              <a:buSzTx/>
              <a:buFontTx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0" name="CaixaDeTexto 29"/>
          <p:cNvSpPr txBox="1"/>
          <p:nvPr/>
        </p:nvSpPr>
        <p:spPr>
          <a:xfrm>
            <a:off x="395536" y="4293096"/>
            <a:ext cx="1800200" cy="147732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72000" marR="0" indent="-72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tabLst/>
            </a:pPr>
            <a:r>
              <a:rPr lang="pt-BR" sz="1600" b="1" kern="0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isciplinas Básicas</a:t>
            </a:r>
          </a:p>
          <a:p>
            <a:pPr marL="72000" marR="0" indent="-72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tabLst/>
            </a:pPr>
            <a:r>
              <a:rPr kumimoji="0" lang="pt-BR" sz="160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- Cálculo</a:t>
            </a:r>
          </a:p>
          <a:p>
            <a:pPr marL="72000" marR="0" indent="-72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tabLst/>
            </a:pPr>
            <a:r>
              <a:rPr lang="pt-BR" sz="1600" kern="0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- Física</a:t>
            </a:r>
          </a:p>
          <a:p>
            <a:pPr marL="72000" marR="0" indent="-72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tabLst/>
            </a:pPr>
            <a:r>
              <a:rPr kumimoji="0" lang="pt-BR" sz="160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- Química</a:t>
            </a:r>
          </a:p>
          <a:p>
            <a:pPr marL="72000" marR="0" indent="-72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tabLst/>
            </a:pPr>
            <a:r>
              <a:rPr lang="pt-BR" sz="1600" kern="0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- ….</a:t>
            </a:r>
            <a:endParaRPr kumimoji="0" lang="pt-BR" sz="200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2" name="CaixaDeTexto 31"/>
          <p:cNvSpPr txBox="1"/>
          <p:nvPr/>
        </p:nvSpPr>
        <p:spPr>
          <a:xfrm>
            <a:off x="2051720" y="4293096"/>
            <a:ext cx="1800200" cy="147732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72000" marR="0" indent="-72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tabLst/>
            </a:pPr>
            <a:r>
              <a:rPr lang="pt-BR" sz="1600" b="1" kern="0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isciplinas  Aplicadas</a:t>
            </a:r>
          </a:p>
          <a:p>
            <a:pPr marL="72000" marR="0" indent="-72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tabLst/>
            </a:pPr>
            <a:r>
              <a:rPr kumimoji="0" lang="pt-BR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- </a:t>
            </a:r>
            <a:r>
              <a:rPr kumimoji="0" lang="pt-BR" sz="160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Acústica</a:t>
            </a:r>
            <a:endParaRPr kumimoji="0" lang="pt-BR" sz="1600" i="0" u="none" strike="noStrike" kern="0" cap="none" spc="0" normalizeH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72000" marR="0" indent="-72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tabLst/>
            </a:pPr>
            <a:r>
              <a:rPr lang="pt-BR" sz="1600" kern="0" baseline="0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- Termodinâmica</a:t>
            </a:r>
          </a:p>
          <a:p>
            <a:pPr marL="72000" marR="0" indent="-72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tabLst/>
            </a:pPr>
            <a:r>
              <a:rPr kumimoji="0" lang="pt-BR" sz="1600" i="0" u="none" strike="noStrike" kern="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- Mecanismos</a:t>
            </a:r>
          </a:p>
          <a:p>
            <a:pPr marL="72000" marR="0" indent="-72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tabLst/>
            </a:pPr>
            <a:r>
              <a:rPr kumimoji="0" lang="pt-BR" sz="1600" i="0" u="none" strike="noStrike" kern="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- ….</a:t>
            </a:r>
            <a:endParaRPr kumimoji="0" lang="pt-BR" sz="200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4" name="Seta para baixo 33"/>
          <p:cNvSpPr/>
          <p:nvPr/>
        </p:nvSpPr>
        <p:spPr bwMode="auto">
          <a:xfrm rot="10800000">
            <a:off x="6804248" y="2132855"/>
            <a:ext cx="936104" cy="864095"/>
          </a:xfrm>
          <a:prstGeom prst="downArrow">
            <a:avLst/>
          </a:prstGeom>
          <a:noFill/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prstShdw prst="shdw17" dist="17961" dir="2700000">
              <a:srgbClr val="FF9900">
                <a:gamma/>
                <a:shade val="60000"/>
                <a:invGamma/>
              </a:srgbClr>
            </a:prstShdw>
          </a:effectLst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3399FF"/>
              </a:buClr>
              <a:buSzTx/>
              <a:buFontTx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6" name="CaixaDeTexto 35"/>
          <p:cNvSpPr txBox="1"/>
          <p:nvPr/>
        </p:nvSpPr>
        <p:spPr>
          <a:xfrm>
            <a:off x="1979712" y="3748970"/>
            <a:ext cx="3024336" cy="40011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342900" marR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pt-BR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UNIVERSIDADE</a:t>
            </a:r>
          </a:p>
        </p:txBody>
      </p:sp>
      <p:sp>
        <p:nvSpPr>
          <p:cNvPr id="37" name="Retângulo 36"/>
          <p:cNvSpPr/>
          <p:nvPr/>
        </p:nvSpPr>
        <p:spPr bwMode="auto">
          <a:xfrm>
            <a:off x="6300192" y="3140968"/>
            <a:ext cx="2520280" cy="1080120"/>
          </a:xfrm>
          <a:prstGeom prst="rect">
            <a:avLst/>
          </a:prstGeom>
          <a:solidFill>
            <a:srgbClr val="BDD39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3399FF"/>
              </a:buClr>
              <a:buSzTx/>
              <a:buFontTx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8" name="CaixaDeTexto 37"/>
          <p:cNvSpPr txBox="1"/>
          <p:nvPr/>
        </p:nvSpPr>
        <p:spPr>
          <a:xfrm>
            <a:off x="6516216" y="3748970"/>
            <a:ext cx="1872207" cy="40011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342900" marR="0" indent="-34290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2000" b="1" kern="0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OCIEDADE</a:t>
            </a:r>
            <a:endParaRPr kumimoji="0" lang="pt-BR" sz="2000" b="1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9" name="CaixaDeTexto 38"/>
          <p:cNvSpPr txBox="1"/>
          <p:nvPr/>
        </p:nvSpPr>
        <p:spPr>
          <a:xfrm>
            <a:off x="6384200" y="3140968"/>
            <a:ext cx="1860207" cy="58477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342900" marR="0" indent="-34290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pt-BR" sz="1600" b="1" i="0" u="none" strike="noStrike" kern="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Resultados / Valor</a:t>
            </a:r>
            <a:endParaRPr kumimoji="0" lang="pt-BR" sz="1600" b="1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48" name="Grupo 47"/>
          <p:cNvGrpSpPr/>
          <p:nvPr/>
        </p:nvGrpSpPr>
        <p:grpSpPr>
          <a:xfrm>
            <a:off x="467544" y="980728"/>
            <a:ext cx="8280920" cy="2041624"/>
            <a:chOff x="323528" y="980728"/>
            <a:chExt cx="8280920" cy="2041624"/>
          </a:xfrm>
        </p:grpSpPr>
        <p:sp>
          <p:nvSpPr>
            <p:cNvPr id="41" name="Retângulo 40"/>
            <p:cNvSpPr/>
            <p:nvPr/>
          </p:nvSpPr>
          <p:spPr bwMode="auto">
            <a:xfrm>
              <a:off x="323528" y="1150144"/>
              <a:ext cx="8280920" cy="1872208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99FF"/>
                </a:buClr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43" name="Seta para baixo 42"/>
            <p:cNvSpPr/>
            <p:nvPr/>
          </p:nvSpPr>
          <p:spPr bwMode="auto">
            <a:xfrm rot="10800000">
              <a:off x="4211960" y="1340768"/>
              <a:ext cx="936104" cy="1656184"/>
            </a:xfrm>
            <a:prstGeom prst="downArrow">
              <a:avLst/>
            </a:prstGeom>
            <a:solidFill>
              <a:srgbClr val="008791"/>
            </a:solidFill>
            <a:ln w="12700" cap="flat" cmpd="sng" algn="ctr">
              <a:solidFill>
                <a:srgbClr val="008791"/>
              </a:solidFill>
              <a:prstDash val="solid"/>
              <a:round/>
              <a:headEnd type="none" w="med" len="med"/>
              <a:tailEnd type="none" w="med" len="med"/>
            </a:ln>
            <a:effectLst>
              <a:prstShdw prst="shdw17" dist="17961" dir="2700000">
                <a:srgbClr val="FF9900">
                  <a:gamma/>
                  <a:shade val="60000"/>
                  <a:invGamma/>
                </a:srgbClr>
              </a:prstShdw>
            </a:effectLst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99FF"/>
                </a:buClr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44" name="Seta para baixo 43"/>
            <p:cNvSpPr/>
            <p:nvPr/>
          </p:nvSpPr>
          <p:spPr bwMode="auto">
            <a:xfrm rot="10800000">
              <a:off x="6685632" y="980728"/>
              <a:ext cx="936104" cy="2016224"/>
            </a:xfrm>
            <a:prstGeom prst="downArrow">
              <a:avLst/>
            </a:prstGeom>
            <a:solidFill>
              <a:srgbClr val="008791"/>
            </a:solidFill>
            <a:ln w="12700" cap="flat" cmpd="sng" algn="ctr">
              <a:solidFill>
                <a:srgbClr val="008791"/>
              </a:solidFill>
              <a:prstDash val="solid"/>
              <a:round/>
              <a:headEnd type="none" w="med" len="med"/>
              <a:tailEnd type="none" w="med" len="med"/>
            </a:ln>
            <a:effectLst>
              <a:prstShdw prst="shdw17" dist="17961" dir="2700000">
                <a:srgbClr val="FF9900">
                  <a:gamma/>
                  <a:shade val="60000"/>
                  <a:invGamma/>
                </a:srgbClr>
              </a:prstShdw>
            </a:effectLst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99FF"/>
                </a:buClr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45" name="Seta para baixo 44"/>
            <p:cNvSpPr/>
            <p:nvPr/>
          </p:nvSpPr>
          <p:spPr bwMode="auto">
            <a:xfrm rot="10800000">
              <a:off x="467545" y="1988840"/>
              <a:ext cx="936104" cy="1008112"/>
            </a:xfrm>
            <a:prstGeom prst="downArrow">
              <a:avLst/>
            </a:prstGeom>
            <a:solidFill>
              <a:srgbClr val="008791"/>
            </a:solidFill>
            <a:ln w="12700" cap="flat" cmpd="sng" algn="ctr">
              <a:solidFill>
                <a:srgbClr val="008791"/>
              </a:solidFill>
              <a:prstDash val="solid"/>
              <a:round/>
              <a:headEnd type="none" w="med" len="med"/>
              <a:tailEnd type="none" w="med" len="med"/>
            </a:ln>
            <a:effectLst>
              <a:prstShdw prst="shdw17" dist="17961" dir="2700000">
                <a:srgbClr val="FF9900">
                  <a:gamma/>
                  <a:shade val="60000"/>
                  <a:invGamma/>
                </a:srgbClr>
              </a:prstShdw>
            </a:effectLst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99FF"/>
                </a:buClr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46" name="Seta para baixo 45"/>
            <p:cNvSpPr/>
            <p:nvPr/>
          </p:nvSpPr>
          <p:spPr bwMode="auto">
            <a:xfrm rot="10800000">
              <a:off x="2267744" y="1628800"/>
              <a:ext cx="936104" cy="1368151"/>
            </a:xfrm>
            <a:prstGeom prst="downArrow">
              <a:avLst/>
            </a:prstGeom>
            <a:solidFill>
              <a:srgbClr val="008791"/>
            </a:solidFill>
            <a:ln w="12700" cap="flat" cmpd="sng" algn="ctr">
              <a:solidFill>
                <a:srgbClr val="008791"/>
              </a:solidFill>
              <a:prstDash val="solid"/>
              <a:round/>
              <a:headEnd type="none" w="med" len="med"/>
              <a:tailEnd type="none" w="med" len="med"/>
            </a:ln>
            <a:effectLst>
              <a:prstShdw prst="shdw17" dist="17961" dir="2700000">
                <a:srgbClr val="FF9900">
                  <a:gamma/>
                  <a:shade val="60000"/>
                  <a:invGamma/>
                </a:srgbClr>
              </a:prstShdw>
            </a:effectLst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3399FF"/>
                </a:buClr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cxnSp>
        <p:nvCxnSpPr>
          <p:cNvPr id="54" name="Conector reto 53"/>
          <p:cNvCxnSpPr/>
          <p:nvPr/>
        </p:nvCxnSpPr>
        <p:spPr bwMode="auto">
          <a:xfrm>
            <a:off x="611560" y="3030736"/>
            <a:ext cx="7560840" cy="38224"/>
          </a:xfrm>
          <a:prstGeom prst="line">
            <a:avLst/>
          </a:prstGeom>
          <a:noFill/>
          <a:ln w="1270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1" name="CaixaDeTexto 30"/>
          <p:cNvSpPr txBox="1"/>
          <p:nvPr/>
        </p:nvSpPr>
        <p:spPr>
          <a:xfrm>
            <a:off x="3923928" y="4358134"/>
            <a:ext cx="2448272" cy="123110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72000" marR="0" indent="-72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tabLst/>
            </a:pPr>
            <a:r>
              <a:rPr lang="pt-BR" sz="1600" b="1" kern="0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Observação e Colaboração</a:t>
            </a:r>
          </a:p>
          <a:p>
            <a:pPr marL="72000" marR="0" indent="-72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tabLst/>
            </a:pPr>
            <a:r>
              <a:rPr kumimoji="0" lang="pt-BR" sz="160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- </a:t>
            </a:r>
            <a:r>
              <a:rPr kumimoji="0" lang="pt-BR" sz="160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Human</a:t>
            </a:r>
            <a:r>
              <a:rPr kumimoji="0" lang="pt-BR" sz="1600" i="0" u="none" strike="noStrike" kern="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kumimoji="0" lang="pt-BR" sz="1600" i="0" u="none" strike="noStrike" kern="0" cap="none" spc="0" normalizeH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Centered</a:t>
            </a:r>
            <a:r>
              <a:rPr kumimoji="0" lang="pt-BR" sz="1600" i="0" u="none" strike="noStrike" kern="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 Design</a:t>
            </a:r>
          </a:p>
          <a:p>
            <a:pPr marL="72000" marR="0" indent="-72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tabLst/>
            </a:pPr>
            <a:r>
              <a:rPr lang="pt-BR" sz="1600" kern="0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- </a:t>
            </a:r>
            <a:r>
              <a:rPr lang="pt-BR" sz="1600" kern="0" dirty="0" err="1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ackathons</a:t>
            </a:r>
            <a:endParaRPr lang="pt-BR" sz="1600" kern="0" dirty="0" smtClean="0">
              <a:solidFill>
                <a:schemeClr val="tx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72000" marR="0" indent="-72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tabLst/>
            </a:pPr>
            <a:r>
              <a:rPr kumimoji="0" lang="pt-BR" sz="1600" i="0" u="none" strike="noStrike" kern="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- ….</a:t>
            </a:r>
            <a:endParaRPr kumimoji="0" lang="pt-BR" sz="200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899592" y="6444044"/>
            <a:ext cx="344652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err="1" smtClean="0"/>
              <a:t>Fonte</a:t>
            </a:r>
            <a:r>
              <a:rPr lang="en-US" sz="1200" dirty="0" smtClean="0"/>
              <a:t>: </a:t>
            </a:r>
            <a:r>
              <a:rPr lang="en-US" sz="1200" dirty="0" smtClean="0">
                <a:hlinkClick r:id="rId3"/>
              </a:rPr>
              <a:t>http://www.olin.edu/academics/curriculum/</a:t>
            </a:r>
            <a:endParaRPr lang="pt-BR" sz="1200" dirty="0"/>
          </a:p>
        </p:txBody>
      </p:sp>
      <p:pic>
        <p:nvPicPr>
          <p:cNvPr id="2593794" name="Picture 2">
            <a:hlinkClick r:id="rId4" action="ppaction://hlinkfile"/>
          </p:cNvPr>
          <p:cNvPicPr>
            <a:picLocks noChangeAspect="1" noChangeArrowheads="1"/>
          </p:cNvPicPr>
          <p:nvPr/>
        </p:nvPicPr>
        <p:blipFill>
          <a:blip r:embed="rId5" cstate="print"/>
          <a:srcRect l="13002" t="36047" r="36082" b="33438"/>
          <a:stretch>
            <a:fillRect/>
          </a:stretch>
        </p:blipFill>
        <p:spPr bwMode="auto">
          <a:xfrm>
            <a:off x="899592" y="1844824"/>
            <a:ext cx="7479540" cy="2520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CaixaDeTexto 5">
            <a:hlinkClick r:id="rId4" action="ppaction://hlinkfile"/>
          </p:cNvPr>
          <p:cNvSpPr txBox="1"/>
          <p:nvPr/>
        </p:nvSpPr>
        <p:spPr>
          <a:xfrm>
            <a:off x="899592" y="1484784"/>
            <a:ext cx="1584176" cy="40011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342900" marR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pt-BR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</a:t>
            </a:r>
            <a:r>
              <a:rPr kumimoji="0" lang="pt-BR" sz="20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ideo</a:t>
            </a:r>
            <a:r>
              <a:rPr kumimoji="0" lang="pt-BR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/>
          <p:cNvSpPr txBox="1">
            <a:spLocks/>
          </p:cNvSpPr>
          <p:nvPr/>
        </p:nvSpPr>
        <p:spPr>
          <a:xfrm>
            <a:off x="457200" y="304800"/>
            <a:ext cx="8229600" cy="750888"/>
          </a:xfrm>
          <a:prstGeom prst="rect">
            <a:avLst/>
          </a:prstGeom>
        </p:spPr>
        <p:txBody>
          <a:bodyPr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pt-BR" sz="28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omo organizar a formação</a:t>
            </a:r>
            <a:r>
              <a:rPr lang="pt-BR" sz="2800" dirty="0" smtClean="0">
                <a:solidFill>
                  <a:schemeClr val="bg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?</a:t>
            </a:r>
            <a:endParaRPr lang="pt-BR" sz="2800" dirty="0">
              <a:solidFill>
                <a:schemeClr val="bg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6" name="Rectangle 17"/>
          <p:cNvSpPr/>
          <p:nvPr/>
        </p:nvSpPr>
        <p:spPr>
          <a:xfrm>
            <a:off x="0" y="5733256"/>
            <a:ext cx="9144000" cy="604837"/>
          </a:xfrm>
          <a:prstGeom prst="rect">
            <a:avLst/>
          </a:prstGeom>
          <a:solidFill>
            <a:srgbClr val="66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Consistência no conhecimento de base, aumento da multidisciplinaridade e foco em problemas reais</a:t>
            </a:r>
            <a:endParaRPr lang="pt-BR" sz="2000" dirty="0">
              <a:solidFill>
                <a:srgbClr val="FFC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Trapezóide 4"/>
          <p:cNvSpPr/>
          <p:nvPr/>
        </p:nvSpPr>
        <p:spPr bwMode="auto">
          <a:xfrm>
            <a:off x="279400" y="2492896"/>
            <a:ext cx="2276376" cy="2304256"/>
          </a:xfrm>
          <a:prstGeom prst="trapezoid">
            <a:avLst>
              <a:gd name="adj" fmla="val 0"/>
            </a:avLst>
          </a:prstGeom>
          <a:solidFill>
            <a:srgbClr val="FFA514"/>
          </a:solidFill>
          <a:ln w="1270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3399FF"/>
              </a:buClr>
              <a:buSzTx/>
              <a:buFontTx/>
              <a:buNone/>
              <a:tabLst/>
            </a:pPr>
            <a:r>
              <a:rPr lang="pt-BR" sz="20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Obrigatórias</a:t>
            </a:r>
          </a:p>
        </p:txBody>
      </p:sp>
      <p:sp>
        <p:nvSpPr>
          <p:cNvPr id="6" name="Trapezóide 5"/>
          <p:cNvSpPr/>
          <p:nvPr/>
        </p:nvSpPr>
        <p:spPr bwMode="auto">
          <a:xfrm>
            <a:off x="266760" y="2060848"/>
            <a:ext cx="2299809" cy="432048"/>
          </a:xfrm>
          <a:prstGeom prst="trapezoid">
            <a:avLst>
              <a:gd name="adj" fmla="val 0"/>
            </a:avLst>
          </a:prstGeom>
          <a:solidFill>
            <a:srgbClr val="BDD393"/>
          </a:solidFill>
          <a:ln w="12700" cap="flat" cmpd="sng" algn="ctr">
            <a:solidFill>
              <a:srgbClr val="BDD39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20000"/>
              </a:spcBef>
              <a:spcAft>
                <a:spcPct val="0"/>
              </a:spcAft>
              <a:buClr>
                <a:srgbClr val="3399FF"/>
              </a:buClr>
            </a:pPr>
            <a:endParaRPr lang="pt-BR" sz="2000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 defTabSz="914400" fontAlgn="base">
              <a:spcBef>
                <a:spcPct val="20000"/>
              </a:spcBef>
              <a:spcAft>
                <a:spcPct val="0"/>
              </a:spcAft>
              <a:buClr>
                <a:srgbClr val="3399FF"/>
              </a:buClr>
            </a:pPr>
            <a:r>
              <a:rPr lang="pt-BR" sz="20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Optativas Livres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3399FF"/>
              </a:buClr>
              <a:buSzTx/>
              <a:buFontTx/>
              <a:buNone/>
              <a:tabLst/>
            </a:pPr>
            <a:endParaRPr kumimoji="0" lang="pt-BR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Trapezóide 6"/>
          <p:cNvSpPr/>
          <p:nvPr/>
        </p:nvSpPr>
        <p:spPr bwMode="auto">
          <a:xfrm flipV="1">
            <a:off x="266760" y="1175544"/>
            <a:ext cx="2299809" cy="885304"/>
          </a:xfrm>
          <a:prstGeom prst="trapezoid">
            <a:avLst>
              <a:gd name="adj" fmla="val 0"/>
            </a:avLst>
          </a:prstGeom>
          <a:solidFill>
            <a:srgbClr val="008791"/>
          </a:solidFill>
          <a:ln w="1270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3399FF"/>
              </a:buClr>
              <a:buSzTx/>
              <a:buFontTx/>
              <a:buNone/>
              <a:tabLst/>
            </a:pPr>
            <a:endParaRPr kumimoji="0" lang="pt-BR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842824" y="1556792"/>
            <a:ext cx="1331468" cy="40011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342900" marR="0" indent="-34290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2000" dirty="0" smtClean="0">
                <a:solidFill>
                  <a:schemeClr val="accent3">
                    <a:lumMod val="8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letivas</a:t>
            </a:r>
          </a:p>
        </p:txBody>
      </p:sp>
      <p:sp>
        <p:nvSpPr>
          <p:cNvPr id="12" name="Trapezóide 11"/>
          <p:cNvSpPr/>
          <p:nvPr/>
        </p:nvSpPr>
        <p:spPr bwMode="auto">
          <a:xfrm>
            <a:off x="3491880" y="4293096"/>
            <a:ext cx="2442912" cy="576064"/>
          </a:xfrm>
          <a:prstGeom prst="trapezoid">
            <a:avLst>
              <a:gd name="adj" fmla="val 0"/>
            </a:avLst>
          </a:prstGeom>
          <a:solidFill>
            <a:srgbClr val="FFA514"/>
          </a:solidFill>
          <a:ln w="12700" cap="flat" cmpd="sng" algn="ctr">
            <a:solidFill>
              <a:srgbClr val="FFA51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3399FF"/>
              </a:buClr>
              <a:buSzTx/>
              <a:buFontTx/>
              <a:buNone/>
              <a:tabLst/>
            </a:pPr>
            <a:r>
              <a:rPr lang="pt-BR" sz="20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Obrigatórias</a:t>
            </a:r>
          </a:p>
        </p:txBody>
      </p:sp>
      <p:sp>
        <p:nvSpPr>
          <p:cNvPr id="13" name="Trapezóide 12"/>
          <p:cNvSpPr/>
          <p:nvPr/>
        </p:nvSpPr>
        <p:spPr bwMode="auto">
          <a:xfrm>
            <a:off x="3497240" y="2708920"/>
            <a:ext cx="2442912" cy="936104"/>
          </a:xfrm>
          <a:prstGeom prst="trapezoid">
            <a:avLst>
              <a:gd name="adj" fmla="val 0"/>
            </a:avLst>
          </a:prstGeom>
          <a:solidFill>
            <a:srgbClr val="BDD393"/>
          </a:solidFill>
          <a:ln w="12700" cap="flat" cmpd="sng" algn="ctr">
            <a:solidFill>
              <a:srgbClr val="BDD39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20000"/>
              </a:spcBef>
              <a:spcAft>
                <a:spcPct val="0"/>
              </a:spcAft>
              <a:buClr>
                <a:srgbClr val="3399FF"/>
              </a:buClr>
            </a:pPr>
            <a:endParaRPr lang="pt-BR" sz="2000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 defTabSz="914400" fontAlgn="base">
              <a:spcBef>
                <a:spcPct val="20000"/>
              </a:spcBef>
              <a:spcAft>
                <a:spcPct val="0"/>
              </a:spcAft>
              <a:buClr>
                <a:srgbClr val="3399FF"/>
              </a:buClr>
            </a:pPr>
            <a:r>
              <a:rPr lang="pt-BR" sz="20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Optativas Livres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3399FF"/>
              </a:buClr>
              <a:buSzTx/>
              <a:buFontTx/>
              <a:buNone/>
              <a:tabLst/>
            </a:pPr>
            <a:endParaRPr kumimoji="0" lang="pt-BR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4" name="Trapezóide 13"/>
          <p:cNvSpPr/>
          <p:nvPr/>
        </p:nvSpPr>
        <p:spPr bwMode="auto">
          <a:xfrm flipV="1">
            <a:off x="3497240" y="1124744"/>
            <a:ext cx="2442912" cy="1584176"/>
          </a:xfrm>
          <a:prstGeom prst="trapezoid">
            <a:avLst>
              <a:gd name="adj" fmla="val 0"/>
            </a:avLst>
          </a:prstGeom>
          <a:solidFill>
            <a:srgbClr val="008791"/>
          </a:solidFill>
          <a:ln w="1270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3399FF"/>
              </a:buClr>
              <a:buSzTx/>
              <a:buFontTx/>
              <a:buNone/>
              <a:tabLst/>
            </a:pPr>
            <a:endParaRPr kumimoji="0" lang="pt-BR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4083184" y="1556792"/>
            <a:ext cx="1414317" cy="40011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342900" marR="0" indent="-34290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2000" dirty="0" smtClean="0">
                <a:solidFill>
                  <a:schemeClr val="accent3">
                    <a:lumMod val="8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letivas</a:t>
            </a:r>
          </a:p>
        </p:txBody>
      </p:sp>
      <p:sp>
        <p:nvSpPr>
          <p:cNvPr id="16" name="Trapezóide 15"/>
          <p:cNvSpPr/>
          <p:nvPr/>
        </p:nvSpPr>
        <p:spPr bwMode="auto">
          <a:xfrm>
            <a:off x="3497240" y="3645024"/>
            <a:ext cx="2442912" cy="637024"/>
          </a:xfrm>
          <a:prstGeom prst="trapezoid">
            <a:avLst>
              <a:gd name="adj" fmla="val 0"/>
            </a:avLst>
          </a:prstGeom>
          <a:solidFill>
            <a:srgbClr val="FFA514">
              <a:alpha val="49000"/>
            </a:srgbClr>
          </a:solidFill>
          <a:ln w="12700" cap="flat" cmpd="sng" algn="ctr">
            <a:solidFill>
              <a:srgbClr val="FFA514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3399FF"/>
              </a:buClr>
              <a:buSzTx/>
              <a:buFontTx/>
              <a:buNone/>
              <a:tabLst/>
            </a:pPr>
            <a:r>
              <a:rPr lang="pt-BR" sz="20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Obrigatórias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3399FF"/>
              </a:buClr>
              <a:buSzTx/>
              <a:buFontTx/>
              <a:buNone/>
              <a:tabLst/>
            </a:pPr>
            <a:r>
              <a:rPr lang="pt-BR" sz="20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virtualmente)</a:t>
            </a:r>
          </a:p>
        </p:txBody>
      </p:sp>
      <p:sp>
        <p:nvSpPr>
          <p:cNvPr id="20" name="Seta para a direita 19"/>
          <p:cNvSpPr/>
          <p:nvPr/>
        </p:nvSpPr>
        <p:spPr bwMode="auto">
          <a:xfrm>
            <a:off x="2627784" y="1844824"/>
            <a:ext cx="648072" cy="1872208"/>
          </a:xfrm>
          <a:prstGeom prst="rightArrow">
            <a:avLst/>
          </a:prstGeom>
          <a:noFill/>
          <a:ln w="12700" cap="flat" cmpd="sng" algn="ctr">
            <a:solidFill>
              <a:srgbClr val="00879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3399FF"/>
              </a:buClr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3" name="Trapezóide 22"/>
          <p:cNvSpPr/>
          <p:nvPr/>
        </p:nvSpPr>
        <p:spPr bwMode="auto">
          <a:xfrm>
            <a:off x="6305552" y="4293096"/>
            <a:ext cx="2442912" cy="576064"/>
          </a:xfrm>
          <a:prstGeom prst="trapezoid">
            <a:avLst>
              <a:gd name="adj" fmla="val 0"/>
            </a:avLst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3399FF"/>
              </a:buClr>
              <a:buSzTx/>
              <a:buFontTx/>
              <a:buNone/>
              <a:tabLst/>
            </a:pPr>
            <a:r>
              <a:rPr lang="pt-BR" sz="20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odelo mental</a:t>
            </a:r>
          </a:p>
        </p:txBody>
      </p:sp>
      <p:sp>
        <p:nvSpPr>
          <p:cNvPr id="24" name="Trapezóide 23"/>
          <p:cNvSpPr/>
          <p:nvPr/>
        </p:nvSpPr>
        <p:spPr bwMode="auto">
          <a:xfrm>
            <a:off x="6305552" y="2708920"/>
            <a:ext cx="2442912" cy="936104"/>
          </a:xfrm>
          <a:prstGeom prst="trapezoid">
            <a:avLst>
              <a:gd name="adj" fmla="val 0"/>
            </a:avLst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20000"/>
              </a:spcBef>
              <a:spcAft>
                <a:spcPct val="0"/>
              </a:spcAft>
              <a:buClr>
                <a:srgbClr val="3399FF"/>
              </a:buClr>
            </a:pPr>
            <a:r>
              <a:rPr lang="pt-BR" sz="20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omplemento das Engenharias</a:t>
            </a:r>
            <a:endParaRPr kumimoji="0" lang="pt-BR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5" name="Trapezóide 24"/>
          <p:cNvSpPr/>
          <p:nvPr/>
        </p:nvSpPr>
        <p:spPr bwMode="auto">
          <a:xfrm flipV="1">
            <a:off x="6233544" y="1124744"/>
            <a:ext cx="2442912" cy="1584176"/>
          </a:xfrm>
          <a:prstGeom prst="trapezoid">
            <a:avLst>
              <a:gd name="adj" fmla="val 0"/>
            </a:avLst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3399FF"/>
              </a:buClr>
              <a:buSzTx/>
              <a:buFontTx/>
              <a:buNone/>
              <a:tabLst/>
            </a:pPr>
            <a:endParaRPr kumimoji="0" lang="pt-BR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7" name="CaixaDeTexto 26"/>
          <p:cNvSpPr txBox="1"/>
          <p:nvPr/>
        </p:nvSpPr>
        <p:spPr>
          <a:xfrm>
            <a:off x="6377561" y="1357393"/>
            <a:ext cx="2298896" cy="101566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400" fontAlgn="base">
              <a:spcBef>
                <a:spcPct val="20000"/>
              </a:spcBef>
              <a:spcAft>
                <a:spcPct val="0"/>
              </a:spcAft>
              <a:buClr>
                <a:srgbClr val="3399FF"/>
              </a:buClr>
            </a:pPr>
            <a:r>
              <a:rPr lang="pt-BR" sz="20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Funcionamento de negócios e sociedade</a:t>
            </a:r>
            <a:endParaRPr lang="pt-BR" sz="2000" dirty="0" smtClean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8" name="Trapezóide 27"/>
          <p:cNvSpPr/>
          <p:nvPr/>
        </p:nvSpPr>
        <p:spPr bwMode="auto">
          <a:xfrm>
            <a:off x="6305552" y="3645024"/>
            <a:ext cx="2442912" cy="637024"/>
          </a:xfrm>
          <a:prstGeom prst="trapezoid">
            <a:avLst>
              <a:gd name="adj" fmla="val 0"/>
            </a:avLst>
          </a:prstGeom>
          <a:noFill/>
          <a:ln w="12700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3399FF"/>
              </a:buClr>
              <a:buSzTx/>
              <a:buFontTx/>
              <a:buNone/>
              <a:tabLst/>
            </a:pPr>
            <a:r>
              <a:rPr lang="pt-BR" sz="20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Fonte de pesquisa</a:t>
            </a:r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/>
          <p:cNvSpPr txBox="1">
            <a:spLocks/>
          </p:cNvSpPr>
          <p:nvPr/>
        </p:nvSpPr>
        <p:spPr>
          <a:xfrm>
            <a:off x="457200" y="304800"/>
            <a:ext cx="8229600" cy="750888"/>
          </a:xfrm>
          <a:prstGeom prst="rect">
            <a:avLst/>
          </a:prstGeom>
        </p:spPr>
        <p:txBody>
          <a:bodyPr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pt-BR" sz="28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ossíveis oportunidades para “Eletivas”</a:t>
            </a:r>
            <a:endParaRPr lang="pt-BR" sz="2800" dirty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6" name="Rectangle 17"/>
          <p:cNvSpPr/>
          <p:nvPr/>
        </p:nvSpPr>
        <p:spPr>
          <a:xfrm>
            <a:off x="0" y="5733256"/>
            <a:ext cx="9144000" cy="604837"/>
          </a:xfrm>
          <a:prstGeom prst="rect">
            <a:avLst/>
          </a:prstGeom>
          <a:solidFill>
            <a:srgbClr val="66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Futuros profissionais precisam identificar os problemas corretos a serem resolvidos e efetivamente implementar suas soluções</a:t>
            </a:r>
            <a:endParaRPr lang="pt-BR" sz="2000" dirty="0">
              <a:solidFill>
                <a:srgbClr val="FFC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7" name="CaixaDeTexto 2"/>
          <p:cNvSpPr txBox="1"/>
          <p:nvPr/>
        </p:nvSpPr>
        <p:spPr>
          <a:xfrm>
            <a:off x="395536" y="1052736"/>
            <a:ext cx="8496944" cy="3970318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NEGÓCIOS e FINANÇAS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Melhorar entendimento da mecânica de negócios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Conceitos de retorno sobre investimentos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Concorrência e modelos de negócios</a:t>
            </a:r>
          </a:p>
          <a:p>
            <a:pPr lvl="1">
              <a:defRPr/>
            </a:pPr>
            <a:endParaRPr lang="pt-BR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Gestão da INOVAÇÃO &amp; EMPREENDEDORISMO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Entender necessidades de usuários e restrição de recursos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Prototipagem e experimentação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Colaboração (Ex: modelo “</a:t>
            </a:r>
            <a:r>
              <a:rPr lang="pt-BR" dirty="0" err="1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Hackatons</a:t>
            </a: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”*)</a:t>
            </a:r>
          </a:p>
          <a:p>
            <a:pPr lvl="1">
              <a:defRPr/>
            </a:pPr>
            <a:endParaRPr lang="pt-BR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176213" lvl="1" indent="-176213"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LIDERANÇA</a:t>
            </a:r>
          </a:p>
          <a:p>
            <a:pPr marL="633248" lvl="2" indent="-176213"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uto conhecimento;</a:t>
            </a:r>
          </a:p>
          <a:p>
            <a:pPr marL="633248" lvl="2" indent="-176213">
              <a:buFont typeface="Arial" pitchFamily="34" charset="0"/>
              <a:buChar char="•"/>
              <a:tabLst>
                <a:tab pos="176213" algn="l"/>
              </a:tabLst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estão do Tempo;</a:t>
            </a:r>
          </a:p>
          <a:p>
            <a:pPr marL="633248" lvl="2" indent="-176213">
              <a:buFont typeface="Arial" pitchFamily="34" charset="0"/>
              <a:buChar char="•"/>
              <a:tabLst>
                <a:tab pos="176213" algn="l"/>
              </a:tabLst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omunicação;</a:t>
            </a:r>
          </a:p>
        </p:txBody>
      </p:sp>
      <p:sp>
        <p:nvSpPr>
          <p:cNvPr id="18" name="CaixaDeTexto 2"/>
          <p:cNvSpPr txBox="1"/>
          <p:nvPr/>
        </p:nvSpPr>
        <p:spPr>
          <a:xfrm>
            <a:off x="755576" y="6487452"/>
            <a:ext cx="8496944" cy="253916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pt-BR" sz="105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* </a:t>
            </a:r>
            <a:r>
              <a:rPr lang="pt-BR" sz="105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  <a:hlinkClick r:id="rId3"/>
              </a:rPr>
              <a:t>http://hackingmedicine.mit.edu/</a:t>
            </a:r>
            <a:r>
              <a:rPr lang="pt-BR" sz="105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Objeto 22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564098" name="think-cell Slide" r:id="rId6" imgW="360" imgH="360" progId="">
              <p:embed/>
            </p:oleObj>
          </a:graphicData>
        </a:graphic>
      </p:graphicFrame>
      <p:sp>
        <p:nvSpPr>
          <p:cNvPr id="22" name="Retângulo 21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14070" fontAlgn="auto">
              <a:defRPr/>
            </a:pPr>
            <a:endParaRPr lang="pt-BR" sz="1000" b="1">
              <a:sym typeface="Calibri"/>
            </a:endParaRPr>
          </a:p>
        </p:txBody>
      </p:sp>
      <p:sp>
        <p:nvSpPr>
          <p:cNvPr id="2" name="Title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57200" y="304800"/>
            <a:ext cx="8229600" cy="750888"/>
          </a:xfrm>
          <a:prstGeom prst="rect">
            <a:avLst/>
          </a:prstGeom>
        </p:spPr>
        <p:txBody>
          <a:bodyPr/>
          <a:lstStyle/>
          <a:p>
            <a:pPr defTabSz="9140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GENDA</a:t>
            </a:r>
            <a:endParaRPr lang="en-US" sz="2800" dirty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6" name="Retângulo de cantos arredondados 5"/>
          <p:cNvSpPr/>
          <p:nvPr/>
        </p:nvSpPr>
        <p:spPr bwMode="auto">
          <a:xfrm>
            <a:off x="323528" y="3573016"/>
            <a:ext cx="7056784" cy="504056"/>
          </a:xfrm>
          <a:prstGeom prst="roundRect">
            <a:avLst/>
          </a:prstGeom>
          <a:noFill/>
          <a:ln w="12700" cap="flat" cmpd="sng" algn="ctr">
            <a:solidFill>
              <a:srgbClr val="FFA514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3399FF"/>
              </a:buClr>
              <a:buSzTx/>
              <a:buFontTx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CaixaDeTexto 2"/>
          <p:cNvSpPr txBox="1"/>
          <p:nvPr/>
        </p:nvSpPr>
        <p:spPr>
          <a:xfrm>
            <a:off x="467544" y="1412776"/>
            <a:ext cx="8496944" cy="3046988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  <a:defRPr/>
            </a:pPr>
            <a:r>
              <a:rPr lang="pt-BR" sz="24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Perfil do novo Engenheiro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pt-BR" sz="24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Visões sobre o Futuro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pt-BR" sz="24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Competências requeridas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pt-BR" sz="24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Papel da Universidade</a:t>
            </a:r>
          </a:p>
          <a:p>
            <a:pPr>
              <a:buFont typeface="Arial" pitchFamily="34" charset="0"/>
              <a:buChar char="•"/>
              <a:defRPr/>
            </a:pPr>
            <a:endParaRPr lang="pt-BR" sz="2400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endParaRPr lang="pt-BR" sz="2400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pt-BR" sz="24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Relacionamento universidade – empresa</a:t>
            </a:r>
          </a:p>
          <a:p>
            <a:pPr>
              <a:buFont typeface="Arial" pitchFamily="34" charset="0"/>
              <a:buChar char="•"/>
              <a:defRPr/>
            </a:pPr>
            <a:endParaRPr lang="pt-BR" sz="2400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179512" y="188640"/>
            <a:ext cx="8229600" cy="750888"/>
          </a:xfrm>
          <a:prstGeom prst="rect">
            <a:avLst/>
          </a:prstGeom>
        </p:spPr>
        <p:txBody>
          <a:bodyPr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pt-BR" sz="28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esafios universidade - empresa</a:t>
            </a:r>
            <a:endParaRPr lang="pt-BR" sz="2800" dirty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CaixaDeTexto 2"/>
          <p:cNvSpPr txBox="1"/>
          <p:nvPr/>
        </p:nvSpPr>
        <p:spPr>
          <a:xfrm>
            <a:off x="323528" y="1124744"/>
            <a:ext cx="5040560" cy="203132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BUROCRACIA para aprovação de projetos inviabiliza que a maioria das empresas se </a:t>
            </a:r>
            <a:r>
              <a:rPr lang="pt-BR" dirty="0" err="1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déque</a:t>
            </a: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especialmente as menores)</a:t>
            </a:r>
          </a:p>
          <a:p>
            <a:pPr>
              <a:buFont typeface="Arial" pitchFamily="34" charset="0"/>
              <a:buChar char="•"/>
              <a:defRPr/>
            </a:pPr>
            <a:endParaRPr lang="pt-BR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VELOCIDADE na definição e aprovação dos projetos, dadas todas as instâncias de aprovação</a:t>
            </a:r>
          </a:p>
        </p:txBody>
      </p:sp>
      <p:pic>
        <p:nvPicPr>
          <p:cNvPr id="2542594" name="Picture 2" descr="Desafio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64088" y="806232"/>
            <a:ext cx="3562944" cy="2672208"/>
          </a:xfrm>
          <a:prstGeom prst="rect">
            <a:avLst/>
          </a:prstGeom>
          <a:noFill/>
        </p:spPr>
      </p:pic>
      <p:sp>
        <p:nvSpPr>
          <p:cNvPr id="7" name="CaixaDeTexto 2"/>
          <p:cNvSpPr txBox="1"/>
          <p:nvPr/>
        </p:nvSpPr>
        <p:spPr>
          <a:xfrm>
            <a:off x="319336" y="3429000"/>
            <a:ext cx="8429128" cy="286232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Generalização de condições a serem atendidas para todos os projetos, trazendo limitações em alguns casos (ex: aquisição de equipamentos, contratação de pessoal, etc.)</a:t>
            </a:r>
          </a:p>
          <a:p>
            <a:pPr>
              <a:buFont typeface="Arial" pitchFamily="34" charset="0"/>
              <a:buChar char="•"/>
              <a:defRPr/>
            </a:pPr>
            <a:endParaRPr lang="pt-BR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Submissão dos departamentos de universidades à ÓRGÃOS públicos DISTANTES da realidade das parcerias, tornando mais complexo o entendimento dos desafios</a:t>
            </a:r>
          </a:p>
          <a:p>
            <a:pPr>
              <a:buFont typeface="Arial" pitchFamily="34" charset="0"/>
              <a:buChar char="•"/>
              <a:defRPr/>
            </a:pPr>
            <a:endParaRPr lang="pt-BR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FALTA de INCENTIVO ao corpo docente e à liderança das universidades para que invistam tempo nas parceria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14946" name="Picture 2" descr="http://blog.transcom.com/wp-content/uploads/2014/11/LIFE-IN-TRANSCOM-Partnership-2.jpg"/>
          <p:cNvPicPr>
            <a:picLocks noChangeAspect="1" noChangeArrowheads="1"/>
          </p:cNvPicPr>
          <p:nvPr/>
        </p:nvPicPr>
        <p:blipFill>
          <a:blip r:embed="rId3" cstate="print"/>
          <a:srcRect l="10090" t="9211" r="11066"/>
          <a:stretch>
            <a:fillRect/>
          </a:stretch>
        </p:blipFill>
        <p:spPr bwMode="auto">
          <a:xfrm>
            <a:off x="2339752" y="764704"/>
            <a:ext cx="4104456" cy="2880320"/>
          </a:xfrm>
          <a:prstGeom prst="rect">
            <a:avLst/>
          </a:prstGeom>
          <a:noFill/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158824" y="116632"/>
            <a:ext cx="8229600" cy="750888"/>
          </a:xfrm>
          <a:prstGeom prst="rect">
            <a:avLst/>
          </a:prstGeom>
        </p:spPr>
        <p:txBody>
          <a:bodyPr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pt-BR" sz="28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lacionamento universidade - empresa</a:t>
            </a:r>
            <a:endParaRPr lang="pt-BR" sz="2800" dirty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CaixaDeTexto 2"/>
          <p:cNvSpPr txBox="1"/>
          <p:nvPr/>
        </p:nvSpPr>
        <p:spPr>
          <a:xfrm>
            <a:off x="107504" y="836713"/>
            <a:ext cx="4248472" cy="452431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pt-BR" b="1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mpresas</a:t>
            </a:r>
          </a:p>
          <a:p>
            <a:pPr>
              <a:buFont typeface="Arial" pitchFamily="34" charset="0"/>
              <a:buChar char="•"/>
              <a:defRPr/>
            </a:pPr>
            <a:endParaRPr lang="pt-BR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defRPr/>
            </a:pPr>
            <a:endParaRPr lang="pt-BR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defRPr/>
            </a:pPr>
            <a:endParaRPr lang="pt-BR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defRPr/>
            </a:pPr>
            <a:endParaRPr lang="pt-BR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SELEÇÃO de profissionais</a:t>
            </a:r>
          </a:p>
          <a:p>
            <a:pPr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elhor preparados</a:t>
            </a:r>
          </a:p>
          <a:p>
            <a:pPr>
              <a:buFont typeface="Arial" pitchFamily="34" charset="0"/>
              <a:buChar char="•"/>
              <a:defRPr/>
            </a:pPr>
            <a:endParaRPr lang="pt-BR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MULTIPLICAÇÃO do impacto dos INVESTIMENTOS em </a:t>
            </a:r>
            <a:r>
              <a:rPr lang="pt-BR" dirty="0" err="1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&amp;D</a:t>
            </a:r>
            <a:endParaRPr lang="pt-BR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endParaRPr lang="pt-BR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Constante ATUALIZAÇÃO dos nossos profissionais com CONHECIMENTO</a:t>
            </a:r>
          </a:p>
          <a:p>
            <a:pPr>
              <a:buFont typeface="Arial" pitchFamily="34" charset="0"/>
              <a:buChar char="•"/>
              <a:defRPr/>
            </a:pPr>
            <a:endParaRPr lang="pt-BR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DIFERENCIAL competitivo em última instância</a:t>
            </a:r>
          </a:p>
        </p:txBody>
      </p:sp>
      <p:sp>
        <p:nvSpPr>
          <p:cNvPr id="6" name="CaixaDeTexto 2"/>
          <p:cNvSpPr txBox="1"/>
          <p:nvPr/>
        </p:nvSpPr>
        <p:spPr>
          <a:xfrm>
            <a:off x="5220072" y="1508006"/>
            <a:ext cx="3744416" cy="480131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r">
              <a:buFont typeface="Arial" pitchFamily="34" charset="0"/>
              <a:buChar char="•"/>
              <a:defRPr/>
            </a:pPr>
            <a:endParaRPr lang="pt-BR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2">
              <a:buFont typeface="Arial" pitchFamily="34" charset="0"/>
              <a:buChar char="•"/>
              <a:defRPr/>
            </a:pPr>
            <a:endParaRPr lang="pt-BR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2">
              <a:buFont typeface="Arial" pitchFamily="34" charset="0"/>
              <a:buChar char="•"/>
              <a:defRPr/>
            </a:pPr>
            <a:endParaRPr lang="pt-BR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2">
              <a:defRPr/>
            </a:pPr>
            <a:endParaRPr lang="pt-BR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EMPREGABILIDADE facilitada para formandos</a:t>
            </a:r>
          </a:p>
          <a:p>
            <a:pPr>
              <a:buFont typeface="Arial" pitchFamily="34" charset="0"/>
              <a:buChar char="•"/>
              <a:defRPr/>
            </a:pPr>
            <a:endParaRPr lang="pt-BR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Aumento no financiamento de pesquisa e conteúdo para PRODUÇÃO acadêmica</a:t>
            </a:r>
          </a:p>
          <a:p>
            <a:pPr>
              <a:buFont typeface="Arial" pitchFamily="34" charset="0"/>
              <a:buChar char="•"/>
              <a:defRPr/>
            </a:pPr>
            <a:endParaRPr lang="pt-BR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Feedback para melhor direcionar linhas de pesquisa com alto impacto na SOCIEDADE</a:t>
            </a:r>
          </a:p>
          <a:p>
            <a:pPr>
              <a:buFont typeface="Arial" pitchFamily="34" charset="0"/>
              <a:buChar char="•"/>
              <a:defRPr/>
            </a:pPr>
            <a:endParaRPr lang="pt-BR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ATRATIVIDADE para novos alunos</a:t>
            </a:r>
          </a:p>
        </p:txBody>
      </p:sp>
      <p:sp>
        <p:nvSpPr>
          <p:cNvPr id="7" name="CaixaDeTexto 2"/>
          <p:cNvSpPr txBox="1"/>
          <p:nvPr/>
        </p:nvSpPr>
        <p:spPr>
          <a:xfrm>
            <a:off x="107504" y="1196752"/>
            <a:ext cx="2664296" cy="92333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PARCERIAS em </a:t>
            </a:r>
          </a:p>
          <a:p>
            <a:pPr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esquisa com aplicação PRÁTICA</a:t>
            </a:r>
          </a:p>
        </p:txBody>
      </p:sp>
      <p:sp>
        <p:nvSpPr>
          <p:cNvPr id="8" name="CaixaDeTexto 2"/>
          <p:cNvSpPr txBox="1"/>
          <p:nvPr/>
        </p:nvSpPr>
        <p:spPr>
          <a:xfrm>
            <a:off x="6334020" y="1340768"/>
            <a:ext cx="2880320" cy="92333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95250" lvl="2" indent="171450">
              <a:buFont typeface="Arial" pitchFamily="34" charset="0"/>
              <a:buChar char="•"/>
              <a:defRPr/>
            </a:pPr>
            <a:r>
              <a:rPr lang="pt-BR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MOTIVAÇÃO dos alunos com senso de propósito para pesquisa</a:t>
            </a:r>
          </a:p>
        </p:txBody>
      </p:sp>
      <p:sp>
        <p:nvSpPr>
          <p:cNvPr id="9" name="Retângulo 8"/>
          <p:cNvSpPr/>
          <p:nvPr/>
        </p:nvSpPr>
        <p:spPr>
          <a:xfrm>
            <a:off x="6300192" y="908720"/>
            <a:ext cx="18149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pt-BR" b="1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Universidad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Objeto 22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511874" name="think-cell Slide" r:id="rId6" imgW="360" imgH="360" progId="">
              <p:embed/>
            </p:oleObj>
          </a:graphicData>
        </a:graphic>
      </p:graphicFrame>
      <p:sp>
        <p:nvSpPr>
          <p:cNvPr id="22" name="Retângulo 21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14070" fontAlgn="auto">
              <a:defRPr/>
            </a:pPr>
            <a:endParaRPr lang="pt-BR" sz="1000" b="1">
              <a:sym typeface="Calibri"/>
            </a:endParaRPr>
          </a:p>
        </p:txBody>
      </p:sp>
      <p:sp>
        <p:nvSpPr>
          <p:cNvPr id="2" name="Title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57200" y="1412776"/>
            <a:ext cx="8229600" cy="750888"/>
          </a:xfrm>
          <a:prstGeom prst="rect">
            <a:avLst/>
          </a:prstGeom>
        </p:spPr>
        <p:txBody>
          <a:bodyPr/>
          <a:lstStyle/>
          <a:p>
            <a:pPr algn="ctr" defTabSz="9140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2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Obrigado</a:t>
            </a:r>
            <a:endParaRPr lang="en-US" sz="7200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511875" name="Rectangle 3"/>
          <p:cNvSpPr>
            <a:spLocks noChangeArrowheads="1"/>
          </p:cNvSpPr>
          <p:nvPr/>
        </p:nvSpPr>
        <p:spPr bwMode="auto">
          <a:xfrm>
            <a:off x="2493547" y="3052702"/>
            <a:ext cx="4156907" cy="1938992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3200" b="1" i="0" u="none" strike="noStrike" cap="none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latin typeface="Tahoma" pitchFamily="34" charset="0"/>
                <a:ea typeface="Tahoma" pitchFamily="34" charset="0"/>
                <a:cs typeface="Tahoma" pitchFamily="34" charset="0"/>
              </a:rPr>
              <a:t>Roberto H. Campos</a:t>
            </a:r>
            <a:endParaRPr kumimoji="0" lang="pt-BR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2800" b="1" i="0" u="none" strike="noStrike" cap="none" normalizeH="0" baseline="0" dirty="0" smtClean="0">
                <a:ln>
                  <a:noFill/>
                </a:ln>
                <a:solidFill>
                  <a:srgbClr val="222222"/>
                </a:solidFill>
                <a:effectLst/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kumimoji="0" lang="pt-BR" sz="2800" b="1" i="0" u="none" strike="noStrike" cap="none" normalizeH="0" baseline="0" dirty="0" smtClean="0">
                <a:ln>
                  <a:noFill/>
                </a:ln>
                <a:solidFill>
                  <a:srgbClr val="222222"/>
                </a:solidFill>
                <a:effectLst/>
                <a:latin typeface="Tahoma" pitchFamily="34" charset="0"/>
                <a:ea typeface="Tahoma" pitchFamily="34" charset="0"/>
                <a:cs typeface="Tahoma" pitchFamily="34" charset="0"/>
              </a:rPr>
            </a:br>
            <a:endParaRPr kumimoji="0" lang="pt-BR" sz="2800" b="0" i="0" u="none" strike="noStrike" cap="none" normalizeH="0" baseline="0" dirty="0" smtClean="0">
              <a:ln>
                <a:noFill/>
              </a:ln>
              <a:solidFill>
                <a:srgbClr val="222222"/>
              </a:solidFill>
              <a:effectLst/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3200" b="0" i="0" u="none" strike="noStrike" cap="none" normalizeH="0" baseline="0" dirty="0" smtClean="0">
                <a:ln>
                  <a:noFill/>
                </a:ln>
                <a:solidFill>
                  <a:srgbClr val="616161"/>
                </a:solidFill>
                <a:effectLst/>
                <a:latin typeface="Tahoma" pitchFamily="34" charset="0"/>
                <a:ea typeface="Tahoma" pitchFamily="34" charset="0"/>
                <a:cs typeface="Tahoma" pitchFamily="34" charset="0"/>
              </a:rPr>
              <a:t>  </a:t>
            </a:r>
            <a:endParaRPr kumimoji="0" lang="pt-BR" sz="6000" b="0" i="0" u="none" strike="noStrike" cap="none" normalizeH="0" baseline="0" dirty="0" smtClean="0">
              <a:ln>
                <a:noFill/>
              </a:ln>
              <a:solidFill>
                <a:srgbClr val="616161"/>
              </a:solidFill>
              <a:effectLst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611560" y="1630541"/>
            <a:ext cx="792088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latin typeface="Tahoma" pitchFamily="34" charset="0"/>
                <a:ea typeface="Tahoma" pitchFamily="34" charset="0"/>
                <a:cs typeface="Tahoma" pitchFamily="34" charset="0"/>
                <a:hlinkClick r:id="rId3"/>
              </a:rPr>
              <a:t>http://www.technologyreview.com/article/427524/three-months-6500-and-billions-of-hours-of-fun/</a:t>
            </a:r>
            <a:endParaRPr lang="pt-BR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endParaRPr lang="pt-BR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pt-BR" dirty="0" smtClean="0">
                <a:latin typeface="Tahoma" pitchFamily="34" charset="0"/>
                <a:ea typeface="Tahoma" pitchFamily="34" charset="0"/>
                <a:cs typeface="Tahoma" pitchFamily="34" charset="0"/>
                <a:hlinkClick r:id="rId4"/>
              </a:rPr>
              <a:t>http://www.olin.edu/academics/curriculum/</a:t>
            </a:r>
            <a:endParaRPr lang="pt-BR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endParaRPr lang="pt-BR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pt-BR" dirty="0" smtClean="0">
                <a:latin typeface="Tahoma" pitchFamily="34" charset="0"/>
                <a:ea typeface="Tahoma" pitchFamily="34" charset="0"/>
                <a:cs typeface="Tahoma" pitchFamily="34" charset="0"/>
                <a:hlinkClick r:id="rId5"/>
              </a:rPr>
              <a:t>http://hackingmedicine.mit.edu/</a:t>
            </a:r>
            <a:endParaRPr lang="pt-BR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endParaRPr lang="pt-BR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endParaRPr lang="pt-BR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457200" y="304800"/>
            <a:ext cx="8229600" cy="750888"/>
          </a:xfrm>
          <a:prstGeom prst="rect">
            <a:avLst/>
          </a:prstGeom>
        </p:spPr>
        <p:txBody>
          <a:bodyPr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pt-BR" sz="28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ferências interessantes</a:t>
            </a:r>
            <a:endParaRPr lang="pt-BR" sz="2800" dirty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Objeto 22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512898" name="think-cell Slide" r:id="rId6" imgW="360" imgH="360" progId="">
              <p:embed/>
            </p:oleObj>
          </a:graphicData>
        </a:graphic>
      </p:graphicFrame>
      <p:sp>
        <p:nvSpPr>
          <p:cNvPr id="22" name="Retângulo 21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14070" fontAlgn="auto">
              <a:defRPr/>
            </a:pPr>
            <a:endParaRPr lang="pt-BR" sz="1000" b="1">
              <a:sym typeface="Calibri"/>
            </a:endParaRPr>
          </a:p>
        </p:txBody>
      </p:sp>
      <p:sp>
        <p:nvSpPr>
          <p:cNvPr id="2" name="Title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57200" y="304800"/>
            <a:ext cx="8229600" cy="750888"/>
          </a:xfrm>
          <a:prstGeom prst="rect">
            <a:avLst/>
          </a:prstGeom>
        </p:spPr>
        <p:txBody>
          <a:bodyPr/>
          <a:lstStyle/>
          <a:p>
            <a:pPr defTabSz="91407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GENDA</a:t>
            </a:r>
            <a:endParaRPr lang="en-US" sz="2800" dirty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8" name="CaixaDeTexto 2"/>
          <p:cNvSpPr txBox="1"/>
          <p:nvPr/>
        </p:nvSpPr>
        <p:spPr>
          <a:xfrm>
            <a:off x="467544" y="1412776"/>
            <a:ext cx="8496944" cy="3046988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  <a:defRPr/>
            </a:pPr>
            <a:r>
              <a:rPr lang="pt-BR" sz="24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Perfil do novo Engenheiro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pt-BR" sz="24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Visões sobre o futuro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pt-BR" sz="24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Competências requeridas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pt-BR" sz="24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Papel da universidade</a:t>
            </a:r>
          </a:p>
          <a:p>
            <a:pPr>
              <a:buFont typeface="Arial" pitchFamily="34" charset="0"/>
              <a:buChar char="•"/>
              <a:defRPr/>
            </a:pPr>
            <a:endParaRPr lang="pt-BR" sz="2400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endParaRPr lang="pt-BR" sz="2400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pt-BR" sz="24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Relacionamento universidade – empresa</a:t>
            </a:r>
          </a:p>
          <a:p>
            <a:pPr>
              <a:buFont typeface="Arial" pitchFamily="34" charset="0"/>
              <a:buChar char="•"/>
              <a:defRPr/>
            </a:pPr>
            <a:endParaRPr lang="pt-BR" sz="2400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6" name="Retângulo de cantos arredondados 5"/>
          <p:cNvSpPr/>
          <p:nvPr/>
        </p:nvSpPr>
        <p:spPr bwMode="auto">
          <a:xfrm>
            <a:off x="107504" y="1386488"/>
            <a:ext cx="8820472" cy="458336"/>
          </a:xfrm>
          <a:prstGeom prst="roundRect">
            <a:avLst/>
          </a:prstGeom>
          <a:noFill/>
          <a:ln w="12700" cap="flat" cmpd="sng" algn="ctr">
            <a:solidFill>
              <a:srgbClr val="FFA514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3399FF"/>
              </a:buClr>
              <a:buSzTx/>
              <a:buFontTx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0" y="0"/>
            <a:ext cx="9144000" cy="6381328"/>
          </a:xfrm>
          <a:prstGeom prst="rect">
            <a:avLst/>
          </a:prstGeom>
          <a:solidFill>
            <a:srgbClr val="69B3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00" dirty="0">
              <a:solidFill>
                <a:srgbClr val="FFFFFF"/>
              </a:solidFill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0" y="2354122"/>
            <a:ext cx="8892480" cy="2862304"/>
          </a:xfrm>
          <a:prstGeom prst="rect">
            <a:avLst/>
          </a:prstGeom>
          <a:noFill/>
        </p:spPr>
        <p:txBody>
          <a:bodyPr wrap="square" lIns="91420" tIns="45711" rIns="91420" bIns="45711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6000" dirty="0" smtClean="0">
                <a:solidFill>
                  <a:srgbClr val="FFFFFF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6000" b="1" dirty="0" smtClean="0">
                <a:solidFill>
                  <a:srgbClr val="C6DE8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OMO SERÁ O </a:t>
            </a:r>
            <a:r>
              <a:rPr lang="en-US" sz="600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FUTURO? </a:t>
            </a:r>
            <a:endParaRPr lang="en-US" sz="6000" dirty="0">
              <a:solidFill>
                <a:srgbClr val="FFFFFF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6000" dirty="0">
              <a:solidFill>
                <a:srgbClr val="FFFFFF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Forma livre 38"/>
          <p:cNvSpPr/>
          <p:nvPr/>
        </p:nvSpPr>
        <p:spPr>
          <a:xfrm>
            <a:off x="1612808" y="1191491"/>
            <a:ext cx="7063508" cy="4137891"/>
          </a:xfrm>
          <a:custGeom>
            <a:avLst/>
            <a:gdLst>
              <a:gd name="connsiteX0" fmla="*/ 0 w 7063508"/>
              <a:gd name="connsiteY0" fmla="*/ 4031673 h 4137891"/>
              <a:gd name="connsiteX1" fmla="*/ 817418 w 7063508"/>
              <a:gd name="connsiteY1" fmla="*/ 4059382 h 4137891"/>
              <a:gd name="connsiteX2" fmla="*/ 789709 w 7063508"/>
              <a:gd name="connsiteY2" fmla="*/ 3560618 h 4137891"/>
              <a:gd name="connsiteX3" fmla="*/ 1842654 w 7063508"/>
              <a:gd name="connsiteY3" fmla="*/ 3380509 h 4137891"/>
              <a:gd name="connsiteX4" fmla="*/ 1801091 w 7063508"/>
              <a:gd name="connsiteY4" fmla="*/ 2729345 h 4137891"/>
              <a:gd name="connsiteX5" fmla="*/ 2909454 w 7063508"/>
              <a:gd name="connsiteY5" fmla="*/ 2632364 h 4137891"/>
              <a:gd name="connsiteX6" fmla="*/ 2951018 w 7063508"/>
              <a:gd name="connsiteY6" fmla="*/ 2022764 h 4137891"/>
              <a:gd name="connsiteX7" fmla="*/ 3990109 w 7063508"/>
              <a:gd name="connsiteY7" fmla="*/ 1939636 h 4137891"/>
              <a:gd name="connsiteX8" fmla="*/ 4100945 w 7063508"/>
              <a:gd name="connsiteY8" fmla="*/ 1246909 h 4137891"/>
              <a:gd name="connsiteX9" fmla="*/ 5098472 w 7063508"/>
              <a:gd name="connsiteY9" fmla="*/ 1205345 h 4137891"/>
              <a:gd name="connsiteX10" fmla="*/ 5237018 w 7063508"/>
              <a:gd name="connsiteY10" fmla="*/ 623454 h 4137891"/>
              <a:gd name="connsiteX11" fmla="*/ 6774872 w 7063508"/>
              <a:gd name="connsiteY11" fmla="*/ 581891 h 4137891"/>
              <a:gd name="connsiteX12" fmla="*/ 6968836 w 7063508"/>
              <a:gd name="connsiteY12" fmla="*/ 0 h 4137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63508" h="4137891">
                <a:moveTo>
                  <a:pt x="0" y="4031673"/>
                </a:moveTo>
                <a:cubicBezTo>
                  <a:pt x="342900" y="4084782"/>
                  <a:pt x="685800" y="4137891"/>
                  <a:pt x="817418" y="4059382"/>
                </a:cubicBezTo>
                <a:cubicBezTo>
                  <a:pt x="949036" y="3980873"/>
                  <a:pt x="618836" y="3673763"/>
                  <a:pt x="789709" y="3560618"/>
                </a:cubicBezTo>
                <a:cubicBezTo>
                  <a:pt x="960582" y="3447473"/>
                  <a:pt x="1674090" y="3519054"/>
                  <a:pt x="1842654" y="3380509"/>
                </a:cubicBezTo>
                <a:cubicBezTo>
                  <a:pt x="2011218" y="3241964"/>
                  <a:pt x="1623291" y="2854036"/>
                  <a:pt x="1801091" y="2729345"/>
                </a:cubicBezTo>
                <a:cubicBezTo>
                  <a:pt x="1978891" y="2604654"/>
                  <a:pt x="2717800" y="2750127"/>
                  <a:pt x="2909454" y="2632364"/>
                </a:cubicBezTo>
                <a:cubicBezTo>
                  <a:pt x="3101108" y="2514601"/>
                  <a:pt x="2770909" y="2138219"/>
                  <a:pt x="2951018" y="2022764"/>
                </a:cubicBezTo>
                <a:cubicBezTo>
                  <a:pt x="3131127" y="1907309"/>
                  <a:pt x="3798455" y="2068945"/>
                  <a:pt x="3990109" y="1939636"/>
                </a:cubicBezTo>
                <a:cubicBezTo>
                  <a:pt x="4181764" y="1810327"/>
                  <a:pt x="3916218" y="1369291"/>
                  <a:pt x="4100945" y="1246909"/>
                </a:cubicBezTo>
                <a:cubicBezTo>
                  <a:pt x="4285672" y="1124527"/>
                  <a:pt x="4909127" y="1309254"/>
                  <a:pt x="5098472" y="1205345"/>
                </a:cubicBezTo>
                <a:cubicBezTo>
                  <a:pt x="5287817" y="1101436"/>
                  <a:pt x="4957618" y="727363"/>
                  <a:pt x="5237018" y="623454"/>
                </a:cubicBezTo>
                <a:cubicBezTo>
                  <a:pt x="5516418" y="519545"/>
                  <a:pt x="6486236" y="685800"/>
                  <a:pt x="6774872" y="581891"/>
                </a:cubicBezTo>
                <a:cubicBezTo>
                  <a:pt x="7063508" y="477982"/>
                  <a:pt x="7016172" y="238991"/>
                  <a:pt x="6968836" y="0"/>
                </a:cubicBezTo>
              </a:path>
            </a:pathLst>
          </a:custGeom>
          <a:ln>
            <a:solidFill>
              <a:srgbClr val="69B39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71" name="Forma 70"/>
          <p:cNvCxnSpPr>
            <a:stCxn id="53" idx="0"/>
            <a:endCxn id="54" idx="2"/>
          </p:cNvCxnSpPr>
          <p:nvPr/>
        </p:nvCxnSpPr>
        <p:spPr>
          <a:xfrm rot="5400000" flipH="1" flipV="1">
            <a:off x="3038509" y="-348344"/>
            <a:ext cx="3860802" cy="6879773"/>
          </a:xfrm>
          <a:prstGeom prst="curvedConnector2">
            <a:avLst/>
          </a:prstGeom>
          <a:ln>
            <a:solidFill>
              <a:srgbClr val="FFA51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Title 1"/>
          <p:cNvSpPr txBox="1">
            <a:spLocks/>
          </p:cNvSpPr>
          <p:nvPr/>
        </p:nvSpPr>
        <p:spPr>
          <a:xfrm>
            <a:off x="457200" y="304800"/>
            <a:ext cx="4258816" cy="750888"/>
          </a:xfrm>
          <a:prstGeom prst="rect">
            <a:avLst/>
          </a:prstGeom>
        </p:spPr>
        <p:txBody>
          <a:bodyPr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pt-BR" sz="28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endências globais...</a:t>
            </a:r>
            <a:endParaRPr lang="pt-BR" sz="2800" dirty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6" name="Rectangle 17"/>
          <p:cNvSpPr/>
          <p:nvPr/>
        </p:nvSpPr>
        <p:spPr>
          <a:xfrm>
            <a:off x="0" y="5738391"/>
            <a:ext cx="9144000" cy="604837"/>
          </a:xfrm>
          <a:prstGeom prst="rect">
            <a:avLst/>
          </a:prstGeom>
          <a:solidFill>
            <a:srgbClr val="66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Concorrência acirrada e informação disponível para um mundo em mudança acelerada</a:t>
            </a:r>
            <a:endParaRPr lang="pt-BR" sz="2000" dirty="0">
              <a:solidFill>
                <a:srgbClr val="FFC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3" name="Elipse 52"/>
          <p:cNvSpPr/>
          <p:nvPr/>
        </p:nvSpPr>
        <p:spPr>
          <a:xfrm>
            <a:off x="1376625" y="5021943"/>
            <a:ext cx="304798" cy="304798"/>
          </a:xfrm>
          <a:prstGeom prst="ellipse">
            <a:avLst/>
          </a:prstGeom>
          <a:solidFill>
            <a:srgbClr val="69B39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4" name="Elipse 53"/>
          <p:cNvSpPr/>
          <p:nvPr/>
        </p:nvSpPr>
        <p:spPr>
          <a:xfrm>
            <a:off x="8408797" y="1008742"/>
            <a:ext cx="304798" cy="304798"/>
          </a:xfrm>
          <a:prstGeom prst="ellipse">
            <a:avLst/>
          </a:prstGeom>
          <a:solidFill>
            <a:srgbClr val="F564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5" name="CaixaDeTexto 54"/>
          <p:cNvSpPr txBox="1"/>
          <p:nvPr/>
        </p:nvSpPr>
        <p:spPr>
          <a:xfrm>
            <a:off x="564276" y="5013176"/>
            <a:ext cx="7232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15</a:t>
            </a:r>
          </a:p>
        </p:txBody>
      </p:sp>
      <p:sp>
        <p:nvSpPr>
          <p:cNvPr id="56" name="CaixaDeTexto 55"/>
          <p:cNvSpPr txBox="1"/>
          <p:nvPr/>
        </p:nvSpPr>
        <p:spPr>
          <a:xfrm>
            <a:off x="8232397" y="467961"/>
            <a:ext cx="74090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600" b="1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isão</a:t>
            </a:r>
            <a:endParaRPr lang="pt-BR" sz="1600" b="1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r>
              <a:rPr lang="pt-BR" sz="1600" b="1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25</a:t>
            </a:r>
            <a:endParaRPr lang="pt-BR" sz="1600" b="1" dirty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7" name="CaixaDeTexto 56"/>
          <p:cNvSpPr txBox="1"/>
          <p:nvPr/>
        </p:nvSpPr>
        <p:spPr>
          <a:xfrm>
            <a:off x="135423" y="4293096"/>
            <a:ext cx="2049166" cy="55457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pt-BR" sz="16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dutos </a:t>
            </a:r>
            <a:r>
              <a:rPr lang="pt-BR" sz="1600" dirty="0" err="1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omoditizados</a:t>
            </a:r>
            <a:endParaRPr lang="pt-BR" sz="1600" dirty="0" smtClean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8" name="Elipse 57"/>
          <p:cNvSpPr/>
          <p:nvPr/>
        </p:nvSpPr>
        <p:spPr>
          <a:xfrm>
            <a:off x="1485019" y="4447987"/>
            <a:ext cx="217715" cy="217715"/>
          </a:xfrm>
          <a:prstGeom prst="ellipse">
            <a:avLst/>
          </a:prstGeom>
          <a:solidFill>
            <a:srgbClr val="66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61" name="CaixaDeTexto 60"/>
          <p:cNvSpPr txBox="1"/>
          <p:nvPr/>
        </p:nvSpPr>
        <p:spPr>
          <a:xfrm>
            <a:off x="351447" y="3030051"/>
            <a:ext cx="2037617" cy="68698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pt-BR" sz="16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scassez de tempo e espaço</a:t>
            </a:r>
            <a:endParaRPr lang="pt-BR" sz="1600" dirty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62" name="Elipse 61"/>
          <p:cNvSpPr/>
          <p:nvPr/>
        </p:nvSpPr>
        <p:spPr>
          <a:xfrm>
            <a:off x="2297115" y="3188145"/>
            <a:ext cx="217715" cy="217715"/>
          </a:xfrm>
          <a:prstGeom prst="ellipse">
            <a:avLst/>
          </a:prstGeom>
          <a:solidFill>
            <a:srgbClr val="66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64" name="CaixaDeTexto 63"/>
          <p:cNvSpPr txBox="1"/>
          <p:nvPr/>
        </p:nvSpPr>
        <p:spPr>
          <a:xfrm>
            <a:off x="279439" y="3738518"/>
            <a:ext cx="16610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nvelhecimento</a:t>
            </a:r>
            <a:endParaRPr lang="pt-BR" sz="1600" dirty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65" name="Elipse 64"/>
          <p:cNvSpPr/>
          <p:nvPr/>
        </p:nvSpPr>
        <p:spPr>
          <a:xfrm>
            <a:off x="1750783" y="3836904"/>
            <a:ext cx="217715" cy="217715"/>
          </a:xfrm>
          <a:prstGeom prst="ellipse">
            <a:avLst/>
          </a:prstGeom>
          <a:solidFill>
            <a:srgbClr val="66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68" name="Elipse 67"/>
          <p:cNvSpPr/>
          <p:nvPr/>
        </p:nvSpPr>
        <p:spPr>
          <a:xfrm>
            <a:off x="7067541" y="1140690"/>
            <a:ext cx="217715" cy="217715"/>
          </a:xfrm>
          <a:prstGeom prst="ellipse">
            <a:avLst/>
          </a:prstGeom>
          <a:solidFill>
            <a:srgbClr val="66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3" name="CaixaDeTexto 72"/>
          <p:cNvSpPr txBox="1"/>
          <p:nvPr/>
        </p:nvSpPr>
        <p:spPr>
          <a:xfrm>
            <a:off x="711487" y="2586390"/>
            <a:ext cx="21442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trição de recursos</a:t>
            </a:r>
            <a:endParaRPr lang="pt-BR" sz="1600" dirty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4" name="Elipse 73"/>
          <p:cNvSpPr/>
          <p:nvPr/>
        </p:nvSpPr>
        <p:spPr>
          <a:xfrm>
            <a:off x="2977804" y="2621811"/>
            <a:ext cx="217715" cy="217715"/>
          </a:xfrm>
          <a:prstGeom prst="ellipse">
            <a:avLst/>
          </a:prstGeom>
          <a:solidFill>
            <a:srgbClr val="66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7" name="Elipse 76"/>
          <p:cNvSpPr/>
          <p:nvPr/>
        </p:nvSpPr>
        <p:spPr>
          <a:xfrm>
            <a:off x="4066253" y="1987149"/>
            <a:ext cx="217715" cy="217715"/>
          </a:xfrm>
          <a:prstGeom prst="ellipse">
            <a:avLst/>
          </a:prstGeom>
          <a:solidFill>
            <a:srgbClr val="66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80" name="Elipse 79"/>
          <p:cNvSpPr/>
          <p:nvPr/>
        </p:nvSpPr>
        <p:spPr>
          <a:xfrm>
            <a:off x="4860032" y="1628800"/>
            <a:ext cx="217715" cy="217715"/>
          </a:xfrm>
          <a:prstGeom prst="ellipse">
            <a:avLst/>
          </a:prstGeom>
          <a:solidFill>
            <a:srgbClr val="66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8" name="Forma livre 37"/>
          <p:cNvSpPr/>
          <p:nvPr/>
        </p:nvSpPr>
        <p:spPr>
          <a:xfrm>
            <a:off x="1668226" y="1163782"/>
            <a:ext cx="6777181" cy="4077854"/>
          </a:xfrm>
          <a:custGeom>
            <a:avLst/>
            <a:gdLst>
              <a:gd name="connsiteX0" fmla="*/ 0 w 6777181"/>
              <a:gd name="connsiteY0" fmla="*/ 3976254 h 4077854"/>
              <a:gd name="connsiteX1" fmla="*/ 831273 w 6777181"/>
              <a:gd name="connsiteY1" fmla="*/ 3976254 h 4077854"/>
              <a:gd name="connsiteX2" fmla="*/ 914400 w 6777181"/>
              <a:gd name="connsiteY2" fmla="*/ 3366654 h 4077854"/>
              <a:gd name="connsiteX3" fmla="*/ 1870364 w 6777181"/>
              <a:gd name="connsiteY3" fmla="*/ 3283527 h 4077854"/>
              <a:gd name="connsiteX4" fmla="*/ 1939636 w 6777181"/>
              <a:gd name="connsiteY4" fmla="*/ 2646218 h 4077854"/>
              <a:gd name="connsiteX5" fmla="*/ 2951018 w 6777181"/>
              <a:gd name="connsiteY5" fmla="*/ 2563091 h 4077854"/>
              <a:gd name="connsiteX6" fmla="*/ 3048000 w 6777181"/>
              <a:gd name="connsiteY6" fmla="*/ 1898073 h 4077854"/>
              <a:gd name="connsiteX7" fmla="*/ 4059382 w 6777181"/>
              <a:gd name="connsiteY7" fmla="*/ 1814945 h 4077854"/>
              <a:gd name="connsiteX8" fmla="*/ 4239491 w 6777181"/>
              <a:gd name="connsiteY8" fmla="*/ 1149927 h 4077854"/>
              <a:gd name="connsiteX9" fmla="*/ 5195454 w 6777181"/>
              <a:gd name="connsiteY9" fmla="*/ 1122218 h 4077854"/>
              <a:gd name="connsiteX10" fmla="*/ 5347854 w 6777181"/>
              <a:gd name="connsiteY10" fmla="*/ 498763 h 4077854"/>
              <a:gd name="connsiteX11" fmla="*/ 6539345 w 6777181"/>
              <a:gd name="connsiteY11" fmla="*/ 526473 h 4077854"/>
              <a:gd name="connsiteX12" fmla="*/ 6774873 w 6777181"/>
              <a:gd name="connsiteY12" fmla="*/ 0 h 4077854"/>
              <a:gd name="connsiteX13" fmla="*/ 6774873 w 6777181"/>
              <a:gd name="connsiteY13" fmla="*/ 0 h 4077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777181" h="4077854">
                <a:moveTo>
                  <a:pt x="0" y="3976254"/>
                </a:moveTo>
                <a:cubicBezTo>
                  <a:pt x="339436" y="4027054"/>
                  <a:pt x="678873" y="4077854"/>
                  <a:pt x="831273" y="3976254"/>
                </a:cubicBezTo>
                <a:cubicBezTo>
                  <a:pt x="983673" y="3874654"/>
                  <a:pt x="741218" y="3482108"/>
                  <a:pt x="914400" y="3366654"/>
                </a:cubicBezTo>
                <a:cubicBezTo>
                  <a:pt x="1087582" y="3251200"/>
                  <a:pt x="1699491" y="3403600"/>
                  <a:pt x="1870364" y="3283527"/>
                </a:cubicBezTo>
                <a:cubicBezTo>
                  <a:pt x="2041237" y="3163454"/>
                  <a:pt x="1759527" y="2766291"/>
                  <a:pt x="1939636" y="2646218"/>
                </a:cubicBezTo>
                <a:cubicBezTo>
                  <a:pt x="2119745" y="2526145"/>
                  <a:pt x="2766291" y="2687782"/>
                  <a:pt x="2951018" y="2563091"/>
                </a:cubicBezTo>
                <a:cubicBezTo>
                  <a:pt x="3135745" y="2438400"/>
                  <a:pt x="2863273" y="2022764"/>
                  <a:pt x="3048000" y="1898073"/>
                </a:cubicBezTo>
                <a:cubicBezTo>
                  <a:pt x="3232727" y="1773382"/>
                  <a:pt x="3860800" y="1939636"/>
                  <a:pt x="4059382" y="1814945"/>
                </a:cubicBezTo>
                <a:cubicBezTo>
                  <a:pt x="4257964" y="1690254"/>
                  <a:pt x="4050146" y="1265381"/>
                  <a:pt x="4239491" y="1149927"/>
                </a:cubicBezTo>
                <a:cubicBezTo>
                  <a:pt x="4428836" y="1034473"/>
                  <a:pt x="5010727" y="1230745"/>
                  <a:pt x="5195454" y="1122218"/>
                </a:cubicBezTo>
                <a:cubicBezTo>
                  <a:pt x="5380181" y="1013691"/>
                  <a:pt x="5123872" y="598054"/>
                  <a:pt x="5347854" y="498763"/>
                </a:cubicBezTo>
                <a:cubicBezTo>
                  <a:pt x="5571836" y="399472"/>
                  <a:pt x="6301509" y="609600"/>
                  <a:pt x="6539345" y="526473"/>
                </a:cubicBezTo>
                <a:cubicBezTo>
                  <a:pt x="6777181" y="443346"/>
                  <a:pt x="6774873" y="0"/>
                  <a:pt x="6774873" y="0"/>
                </a:cubicBezTo>
                <a:lnTo>
                  <a:pt x="6774873" y="0"/>
                </a:lnTo>
              </a:path>
            </a:pathLst>
          </a:custGeom>
          <a:ln>
            <a:solidFill>
              <a:srgbClr val="F5643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3" name="Elipse 42"/>
          <p:cNvSpPr/>
          <p:nvPr/>
        </p:nvSpPr>
        <p:spPr>
          <a:xfrm>
            <a:off x="3421049" y="2334243"/>
            <a:ext cx="217715" cy="217715"/>
          </a:xfrm>
          <a:prstGeom prst="ellipse">
            <a:avLst/>
          </a:prstGeom>
          <a:solidFill>
            <a:srgbClr val="66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6" name="CaixaDeTexto 35"/>
          <p:cNvSpPr txBox="1"/>
          <p:nvPr/>
        </p:nvSpPr>
        <p:spPr>
          <a:xfrm>
            <a:off x="1082366" y="2166106"/>
            <a:ext cx="23679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lobalização acentuada</a:t>
            </a:r>
            <a:endParaRPr lang="pt-BR" sz="1600" dirty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4" name="CaixaDeTexto 23"/>
          <p:cNvSpPr txBox="1"/>
          <p:nvPr/>
        </p:nvSpPr>
        <p:spPr>
          <a:xfrm>
            <a:off x="1872763" y="1859758"/>
            <a:ext cx="211949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6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onectividade &amp; </a:t>
            </a:r>
            <a:r>
              <a:rPr lang="pt-BR" sz="1600" dirty="0" err="1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oT</a:t>
            </a:r>
            <a:r>
              <a:rPr lang="pt-BR" sz="16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*</a:t>
            </a:r>
            <a:endParaRPr lang="pt-BR" sz="1600" dirty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0" name="CaixaDeTexto 29"/>
          <p:cNvSpPr txBox="1"/>
          <p:nvPr/>
        </p:nvSpPr>
        <p:spPr>
          <a:xfrm>
            <a:off x="3443789" y="2789312"/>
            <a:ext cx="18473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BR" sz="1600" dirty="0" smtClean="0">
              <a:solidFill>
                <a:srgbClr val="FFC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endParaRPr lang="pt-BR" sz="1600" dirty="0">
              <a:solidFill>
                <a:srgbClr val="FFC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7" name="CaixaDeTexto 26"/>
          <p:cNvSpPr txBox="1"/>
          <p:nvPr/>
        </p:nvSpPr>
        <p:spPr>
          <a:xfrm>
            <a:off x="2245211" y="1260049"/>
            <a:ext cx="247080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6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elocidade de mudanças</a:t>
            </a:r>
          </a:p>
          <a:p>
            <a:pPr algn="r"/>
            <a:r>
              <a:rPr lang="pt-BR" sz="16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urpresas x estabilidade</a:t>
            </a:r>
            <a:endParaRPr lang="pt-BR" sz="1600" dirty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8" name="CaixaDeTexto 27"/>
          <p:cNvSpPr txBox="1"/>
          <p:nvPr/>
        </p:nvSpPr>
        <p:spPr>
          <a:xfrm>
            <a:off x="6876256" y="714182"/>
            <a:ext cx="3722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...</a:t>
            </a:r>
            <a:endParaRPr lang="pt-BR" sz="1600" dirty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9" name="CaixaDeTexto 28"/>
          <p:cNvSpPr txBox="1"/>
          <p:nvPr/>
        </p:nvSpPr>
        <p:spPr>
          <a:xfrm>
            <a:off x="899592" y="6453336"/>
            <a:ext cx="5040560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342900" marR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2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* “Internet </a:t>
            </a:r>
            <a:r>
              <a:rPr lang="pt-BR" sz="1200" dirty="0" err="1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of</a:t>
            </a:r>
            <a:r>
              <a:rPr lang="pt-BR" sz="12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pt-BR" sz="1200" dirty="0" err="1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hings</a:t>
            </a:r>
            <a:r>
              <a:rPr lang="pt-BR" sz="12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” (Internet das Coisas)</a:t>
            </a:r>
          </a:p>
        </p:txBody>
      </p:sp>
      <p:sp>
        <p:nvSpPr>
          <p:cNvPr id="31" name="Elipse 30"/>
          <p:cNvSpPr/>
          <p:nvPr/>
        </p:nvSpPr>
        <p:spPr>
          <a:xfrm>
            <a:off x="5796136" y="1340768"/>
            <a:ext cx="217715" cy="217715"/>
          </a:xfrm>
          <a:prstGeom prst="ellipse">
            <a:avLst/>
          </a:prstGeom>
          <a:solidFill>
            <a:srgbClr val="66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2" name="CaixaDeTexto 31"/>
          <p:cNvSpPr txBox="1"/>
          <p:nvPr/>
        </p:nvSpPr>
        <p:spPr>
          <a:xfrm>
            <a:off x="3059832" y="930206"/>
            <a:ext cx="28424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16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esenvolvimentos “caóticos”</a:t>
            </a:r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/>
          <p:cNvSpPr txBox="1">
            <a:spLocks/>
          </p:cNvSpPr>
          <p:nvPr/>
        </p:nvSpPr>
        <p:spPr>
          <a:xfrm>
            <a:off x="529208" y="260648"/>
            <a:ext cx="6059016" cy="750888"/>
          </a:xfrm>
          <a:prstGeom prst="rect">
            <a:avLst/>
          </a:prstGeom>
        </p:spPr>
        <p:txBody>
          <a:bodyPr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pt-BR" sz="28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ossa visão sobre o futuro*</a:t>
            </a:r>
            <a:endParaRPr lang="pt-BR" sz="2800" dirty="0">
              <a:solidFill>
                <a:srgbClr val="666666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6" name="Rectangle 17"/>
          <p:cNvSpPr/>
          <p:nvPr/>
        </p:nvSpPr>
        <p:spPr>
          <a:xfrm>
            <a:off x="0" y="5742583"/>
            <a:ext cx="9144000" cy="604837"/>
          </a:xfrm>
          <a:prstGeom prst="rect">
            <a:avLst/>
          </a:prstGeom>
          <a:solidFill>
            <a:srgbClr val="66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Cada entidade faz sua leitura de tendências, mas todas precisam de PROFISSIONAIS DIFERENCIADOS para a construção das tecnologias do futuro </a:t>
            </a:r>
            <a:endParaRPr lang="pt-BR" sz="2000" dirty="0">
              <a:solidFill>
                <a:srgbClr val="FFC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6" name="Picture 18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lc="http://schemas.openxmlformats.org/drawingml/2006/lockedCanvas" xmlns:a14="http://schemas.microsoft.com/office/drawing/2010/main" xmlns="" xmlns:xdr="http://schemas.openxmlformats.org/drawingml/2006/spreadsheetDrawing" val="0"/>
              </a:ext>
            </a:extLst>
          </a:blip>
          <a:srcRect b="33574"/>
          <a:stretch>
            <a:fillRect/>
          </a:stretch>
        </p:blipFill>
        <p:spPr>
          <a:xfrm>
            <a:off x="611560" y="905344"/>
            <a:ext cx="827256" cy="745281"/>
          </a:xfrm>
          <a:prstGeom prst="roundRect">
            <a:avLst/>
          </a:prstGeom>
        </p:spPr>
      </p:pic>
      <p:pic>
        <p:nvPicPr>
          <p:cNvPr id="7" name="Picture 19"/>
          <p:cNvPicPr>
            <a:picLocks/>
          </p:cNvPicPr>
          <p:nvPr/>
        </p:nvPicPr>
        <p:blipFill>
          <a:blip r:embed="rId4" cstate="print"/>
          <a:srcRect b="34452"/>
          <a:stretch>
            <a:fillRect/>
          </a:stretch>
        </p:blipFill>
        <p:spPr>
          <a:xfrm>
            <a:off x="3131840" y="3716788"/>
            <a:ext cx="827256" cy="745281"/>
          </a:xfrm>
          <a:prstGeom prst="roundRect">
            <a:avLst/>
          </a:prstGeom>
        </p:spPr>
      </p:pic>
      <p:pic>
        <p:nvPicPr>
          <p:cNvPr id="8" name="Picture 20"/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lc="http://schemas.openxmlformats.org/drawingml/2006/lockedCanvas" xmlns:a14="http://schemas.microsoft.com/office/drawing/2010/main" xmlns="" xmlns:xdr="http://schemas.openxmlformats.org/drawingml/2006/spreadsheetDrawing" val="0"/>
              </a:ext>
            </a:extLst>
          </a:blip>
          <a:srcRect b="32889"/>
          <a:stretch>
            <a:fillRect/>
          </a:stretch>
        </p:blipFill>
        <p:spPr>
          <a:xfrm>
            <a:off x="2195736" y="2760590"/>
            <a:ext cx="827256" cy="745281"/>
          </a:xfrm>
          <a:prstGeom prst="roundRect">
            <a:avLst/>
          </a:prstGeom>
        </p:spPr>
      </p:pic>
      <p:pic>
        <p:nvPicPr>
          <p:cNvPr id="9" name="Picture 21"/>
          <p:cNvPicPr>
            <a:picLocks/>
          </p:cNvPicPr>
          <p:nvPr/>
        </p:nvPicPr>
        <p:blipFill>
          <a:blip r:embed="rId6" cstate="print"/>
          <a:srcRect b="34259"/>
          <a:stretch>
            <a:fillRect/>
          </a:stretch>
        </p:blipFill>
        <p:spPr>
          <a:xfrm>
            <a:off x="4041840" y="4672986"/>
            <a:ext cx="827256" cy="745281"/>
          </a:xfrm>
          <a:prstGeom prst="roundRect">
            <a:avLst/>
          </a:prstGeom>
        </p:spPr>
      </p:pic>
      <p:pic>
        <p:nvPicPr>
          <p:cNvPr id="10" name="Picture 22"/>
          <p:cNvPicPr>
            <a:picLocks/>
          </p:cNvPicPr>
          <p:nvPr/>
        </p:nvPicPr>
        <p:blipFill>
          <a:blip r:embed="rId7" cstate="print"/>
          <a:srcRect b="33574"/>
          <a:stretch>
            <a:fillRect/>
          </a:stretch>
        </p:blipFill>
        <p:spPr>
          <a:xfrm>
            <a:off x="1403648" y="1785342"/>
            <a:ext cx="827256" cy="745281"/>
          </a:xfrm>
          <a:prstGeom prst="roundRect">
            <a:avLst/>
          </a:prstGeom>
        </p:spPr>
      </p:pic>
      <p:sp>
        <p:nvSpPr>
          <p:cNvPr id="11" name="CaixaDeTexto 10"/>
          <p:cNvSpPr txBox="1"/>
          <p:nvPr/>
        </p:nvSpPr>
        <p:spPr>
          <a:xfrm>
            <a:off x="1501759" y="886079"/>
            <a:ext cx="1896673" cy="58477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en-US" sz="1600" b="1" dirty="0" err="1" smtClean="0">
                <a:solidFill>
                  <a:srgbClr val="C6DE8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ustentabilidade</a:t>
            </a:r>
            <a:endParaRPr lang="en-US" sz="1600" b="1" dirty="0" smtClean="0">
              <a:solidFill>
                <a:srgbClr val="C6DE8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en-US" sz="1600" b="1" dirty="0" err="1" smtClean="0">
                <a:solidFill>
                  <a:srgbClr val="C6DE8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eio</a:t>
            </a:r>
            <a:r>
              <a:rPr lang="en-US" sz="1600" b="1" dirty="0" smtClean="0">
                <a:solidFill>
                  <a:srgbClr val="C6DE8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600" b="1" dirty="0" err="1" smtClean="0">
                <a:solidFill>
                  <a:srgbClr val="C6DE8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mbiente</a:t>
            </a:r>
            <a:endParaRPr lang="en-US" sz="1600" b="1" dirty="0" smtClean="0">
              <a:solidFill>
                <a:srgbClr val="C6DE8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2293847" y="1747027"/>
            <a:ext cx="1616148" cy="830997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en-US" sz="1600" b="1" dirty="0" err="1" smtClean="0">
                <a:solidFill>
                  <a:srgbClr val="F5643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onveniência</a:t>
            </a:r>
            <a:endParaRPr lang="en-US" sz="1600" b="1" dirty="0" smtClean="0">
              <a:solidFill>
                <a:srgbClr val="F5643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en-US" sz="1600" b="1" dirty="0" err="1" smtClean="0">
                <a:solidFill>
                  <a:srgbClr val="F5643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onectividade</a:t>
            </a:r>
            <a:endParaRPr lang="en-US" sz="1600" b="1" dirty="0" smtClean="0">
              <a:solidFill>
                <a:srgbClr val="F5643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en-US" sz="1600" b="1" dirty="0" err="1" smtClean="0">
                <a:solidFill>
                  <a:srgbClr val="F5643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onforto</a:t>
            </a:r>
            <a:endParaRPr lang="en-US" sz="1600" b="1" dirty="0" smtClean="0">
              <a:solidFill>
                <a:srgbClr val="F5643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3085935" y="2740739"/>
            <a:ext cx="1512168" cy="58477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600" b="1" dirty="0" err="1" smtClean="0">
                <a:solidFill>
                  <a:srgbClr val="00879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ficiência</a:t>
            </a:r>
            <a:r>
              <a:rPr lang="en-US" sz="1600" b="1" dirty="0" smtClean="0">
                <a:solidFill>
                  <a:srgbClr val="00879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600" b="1" dirty="0" err="1" smtClean="0">
                <a:solidFill>
                  <a:srgbClr val="00879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nergética</a:t>
            </a:r>
            <a:endParaRPr lang="en-US" sz="1600" b="1" dirty="0" smtClean="0">
              <a:solidFill>
                <a:srgbClr val="00879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4022039" y="3696938"/>
            <a:ext cx="769763" cy="338554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en-US" sz="1600" b="1" dirty="0" err="1" smtClean="0">
                <a:solidFill>
                  <a:srgbClr val="FF9933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usto</a:t>
            </a:r>
            <a:endParaRPr lang="en-US" sz="1600" b="1" dirty="0" smtClean="0">
              <a:solidFill>
                <a:srgbClr val="FF9933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4932039" y="4788441"/>
            <a:ext cx="1289135" cy="58477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en-US" sz="1600" b="1" dirty="0" err="1" smtClean="0">
                <a:solidFill>
                  <a:srgbClr val="69B39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Qualidade</a:t>
            </a:r>
            <a:r>
              <a:rPr lang="en-US" sz="1600" b="1" dirty="0" smtClean="0">
                <a:solidFill>
                  <a:srgbClr val="69B39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</a:p>
          <a:p>
            <a:r>
              <a:rPr lang="en-US" sz="1600" b="1" dirty="0" err="1" smtClean="0">
                <a:solidFill>
                  <a:srgbClr val="69B39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egurança</a:t>
            </a:r>
            <a:endParaRPr lang="en-US" sz="1600" b="1" dirty="0" smtClean="0">
              <a:solidFill>
                <a:srgbClr val="69B39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4670111" y="2708920"/>
            <a:ext cx="2952328" cy="523230"/>
          </a:xfrm>
          <a:prstGeom prst="rect">
            <a:avLst/>
          </a:prstGeom>
          <a:noFill/>
          <a:effectLst/>
        </p:spPr>
        <p:txBody>
          <a:bodyPr wrap="square" lIns="91449" tIns="45725" rIns="91449" bIns="45725" rtlCol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en-US" sz="1400" b="1" dirty="0" smtClean="0">
                <a:solidFill>
                  <a:srgbClr val="00879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MPROVE ENERGY/COST RATIO</a:t>
            </a:r>
          </a:p>
        </p:txBody>
      </p:sp>
      <p:sp>
        <p:nvSpPr>
          <p:cNvPr id="17" name="CaixaDeTexto 16"/>
          <p:cNvSpPr txBox="1"/>
          <p:nvPr/>
        </p:nvSpPr>
        <p:spPr>
          <a:xfrm>
            <a:off x="5606215" y="4005064"/>
            <a:ext cx="2808312" cy="307787"/>
          </a:xfrm>
          <a:prstGeom prst="rect">
            <a:avLst/>
          </a:prstGeom>
          <a:noFill/>
          <a:effectLst/>
        </p:spPr>
        <p:txBody>
          <a:bodyPr wrap="square" lIns="91449" tIns="45725" rIns="91449" bIns="45725" rtlCol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en-US" sz="1400" b="1" dirty="0" smtClean="0">
                <a:solidFill>
                  <a:srgbClr val="FF9933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INITUARIZATION (COST) </a:t>
            </a:r>
          </a:p>
        </p:txBody>
      </p:sp>
      <p:sp>
        <p:nvSpPr>
          <p:cNvPr id="18" name="CaixaDeTexto 17"/>
          <p:cNvSpPr txBox="1"/>
          <p:nvPr/>
        </p:nvSpPr>
        <p:spPr>
          <a:xfrm>
            <a:off x="3878024" y="1768535"/>
            <a:ext cx="2808312" cy="523230"/>
          </a:xfrm>
          <a:prstGeom prst="rect">
            <a:avLst/>
          </a:prstGeom>
          <a:noFill/>
          <a:effectLst/>
        </p:spPr>
        <p:txBody>
          <a:bodyPr wrap="square" lIns="91449" tIns="45725" rIns="91449" bIns="45725" rtlCol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en-US" sz="1400" b="1" dirty="0" smtClean="0">
                <a:solidFill>
                  <a:srgbClr val="F5643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LUG &amp; PLAY COMPRESSORS</a:t>
            </a:r>
          </a:p>
        </p:txBody>
      </p:sp>
      <p:sp>
        <p:nvSpPr>
          <p:cNvPr id="19" name="CaixaDeTexto 18"/>
          <p:cNvSpPr txBox="1"/>
          <p:nvPr/>
        </p:nvSpPr>
        <p:spPr>
          <a:xfrm>
            <a:off x="3384376" y="908720"/>
            <a:ext cx="3275856" cy="738674"/>
          </a:xfrm>
          <a:prstGeom prst="rect">
            <a:avLst/>
          </a:prstGeom>
          <a:noFill/>
          <a:effectLst/>
        </p:spPr>
        <p:txBody>
          <a:bodyPr wrap="square" lIns="91449" tIns="45725" rIns="91449" bIns="45725" rtlCol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en-US" sz="1400" b="1" dirty="0" smtClean="0">
                <a:solidFill>
                  <a:srgbClr val="C6DE8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NVIRONMENT ORIENTED PRODUCTS THROUGHT OUR VALUE CHAIN</a:t>
            </a:r>
          </a:p>
        </p:txBody>
      </p:sp>
      <p:sp>
        <p:nvSpPr>
          <p:cNvPr id="20" name="CaixaDeTexto 19"/>
          <p:cNvSpPr txBox="1"/>
          <p:nvPr/>
        </p:nvSpPr>
        <p:spPr>
          <a:xfrm>
            <a:off x="3878023" y="2257117"/>
            <a:ext cx="2592288" cy="307787"/>
          </a:xfrm>
          <a:prstGeom prst="rect">
            <a:avLst/>
          </a:prstGeom>
          <a:noFill/>
          <a:effectLst/>
        </p:spPr>
        <p:txBody>
          <a:bodyPr wrap="square" lIns="91449" tIns="45725" rIns="91449" bIns="45725" rtlCol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en-US" sz="1400" b="1" dirty="0" smtClean="0">
                <a:solidFill>
                  <a:srgbClr val="F5643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“SMART” COMPRESSORS</a:t>
            </a:r>
          </a:p>
        </p:txBody>
      </p:sp>
      <p:sp>
        <p:nvSpPr>
          <p:cNvPr id="21" name="CaixaDeTexto 20"/>
          <p:cNvSpPr txBox="1"/>
          <p:nvPr/>
        </p:nvSpPr>
        <p:spPr>
          <a:xfrm>
            <a:off x="6372200" y="4797733"/>
            <a:ext cx="2088232" cy="307787"/>
          </a:xfrm>
          <a:prstGeom prst="rect">
            <a:avLst/>
          </a:prstGeom>
          <a:noFill/>
          <a:effectLst/>
        </p:spPr>
        <p:txBody>
          <a:bodyPr wrap="square" lIns="91449" tIns="45725" rIns="91449" bIns="45725" rtlCol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en-US" sz="1400" b="1" dirty="0" smtClean="0">
                <a:solidFill>
                  <a:srgbClr val="69B39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NOISE REDUCTION</a:t>
            </a:r>
          </a:p>
        </p:txBody>
      </p:sp>
      <p:sp>
        <p:nvSpPr>
          <p:cNvPr id="22" name="CaixaDeTexto 21"/>
          <p:cNvSpPr txBox="1"/>
          <p:nvPr/>
        </p:nvSpPr>
        <p:spPr>
          <a:xfrm>
            <a:off x="4670111" y="3212976"/>
            <a:ext cx="2520280" cy="523230"/>
          </a:xfrm>
          <a:prstGeom prst="rect">
            <a:avLst/>
          </a:prstGeom>
          <a:noFill/>
          <a:effectLst/>
        </p:spPr>
        <p:txBody>
          <a:bodyPr wrap="square" lIns="91449" tIns="45725" rIns="91449" bIns="45725" rtlCol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en-US" sz="1400" b="1" dirty="0" smtClean="0">
                <a:solidFill>
                  <a:srgbClr val="00879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NTEGRATION WITH SYSTEMS</a:t>
            </a:r>
          </a:p>
        </p:txBody>
      </p:sp>
      <p:sp>
        <p:nvSpPr>
          <p:cNvPr id="23" name="CaixaDeTexto 22"/>
          <p:cNvSpPr txBox="1"/>
          <p:nvPr/>
        </p:nvSpPr>
        <p:spPr>
          <a:xfrm>
            <a:off x="5606215" y="4293096"/>
            <a:ext cx="2880320" cy="307787"/>
          </a:xfrm>
          <a:prstGeom prst="rect">
            <a:avLst/>
          </a:prstGeom>
          <a:noFill/>
          <a:effectLst/>
        </p:spPr>
        <p:txBody>
          <a:bodyPr wrap="square" lIns="91449" tIns="45725" rIns="91449" bIns="45725" rtlCol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en-US" sz="1400" b="1" dirty="0" smtClean="0">
                <a:solidFill>
                  <a:srgbClr val="F59528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USTOMIZATION (IN MASS)</a:t>
            </a:r>
          </a:p>
        </p:txBody>
      </p:sp>
      <p:sp>
        <p:nvSpPr>
          <p:cNvPr id="24" name="CaixaDeTexto 23"/>
          <p:cNvSpPr txBox="1"/>
          <p:nvPr/>
        </p:nvSpPr>
        <p:spPr>
          <a:xfrm>
            <a:off x="5652120" y="3573016"/>
            <a:ext cx="3024336" cy="523230"/>
          </a:xfrm>
          <a:prstGeom prst="rect">
            <a:avLst/>
          </a:prstGeom>
          <a:noFill/>
          <a:effectLst/>
        </p:spPr>
        <p:txBody>
          <a:bodyPr wrap="square" lIns="91449" tIns="45725" rIns="91449" bIns="45725" rtlCol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en-US" sz="1400" b="1" dirty="0" smtClean="0">
                <a:solidFill>
                  <a:srgbClr val="FF9933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ONVERT ATTRIBUTES IN  VALUE</a:t>
            </a:r>
          </a:p>
        </p:txBody>
      </p:sp>
      <p:sp>
        <p:nvSpPr>
          <p:cNvPr id="25" name="CaixaDeTexto 24"/>
          <p:cNvSpPr txBox="1"/>
          <p:nvPr/>
        </p:nvSpPr>
        <p:spPr>
          <a:xfrm>
            <a:off x="6372201" y="5066010"/>
            <a:ext cx="2592288" cy="523230"/>
          </a:xfrm>
          <a:prstGeom prst="rect">
            <a:avLst/>
          </a:prstGeom>
          <a:noFill/>
          <a:effectLst/>
        </p:spPr>
        <p:txBody>
          <a:bodyPr wrap="square" lIns="91449" tIns="45725" rIns="91449" bIns="45725" rtlCol="0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en-US" sz="1400" b="1" dirty="0" smtClean="0">
                <a:solidFill>
                  <a:srgbClr val="69B39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DUCTION OF VARIABILITY</a:t>
            </a:r>
          </a:p>
        </p:txBody>
      </p:sp>
      <p:sp>
        <p:nvSpPr>
          <p:cNvPr id="27" name="CaixaDeTexto 26"/>
          <p:cNvSpPr txBox="1"/>
          <p:nvPr/>
        </p:nvSpPr>
        <p:spPr>
          <a:xfrm>
            <a:off x="1043608" y="6464369"/>
            <a:ext cx="4752528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342900" marR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12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* Source: Embraco </a:t>
            </a:r>
            <a:r>
              <a:rPr lang="pt-BR" sz="1200" dirty="0" err="1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echnology</a:t>
            </a:r>
            <a:r>
              <a:rPr lang="pt-BR" sz="12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pt-BR" sz="1200" dirty="0" err="1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lanning</a:t>
            </a:r>
            <a:r>
              <a:rPr lang="pt-BR" sz="12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(8 </a:t>
            </a:r>
            <a:r>
              <a:rPr lang="pt-BR" sz="1200" dirty="0" err="1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teps</a:t>
            </a:r>
            <a:r>
              <a:rPr lang="pt-BR" sz="12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pt-BR" sz="1200" dirty="0" err="1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ss</a:t>
            </a:r>
            <a:r>
              <a:rPr lang="pt-BR" sz="1200" dirty="0" smtClean="0">
                <a:solidFill>
                  <a:srgbClr val="666666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)</a:t>
            </a:r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0" y="0"/>
            <a:ext cx="9144000" cy="6381328"/>
          </a:xfrm>
          <a:prstGeom prst="rect">
            <a:avLst/>
          </a:prstGeom>
          <a:solidFill>
            <a:srgbClr val="69B3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00" dirty="0">
              <a:solidFill>
                <a:srgbClr val="FFFFFF"/>
              </a:solidFill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0" y="1196752"/>
            <a:ext cx="8892480" cy="4708963"/>
          </a:xfrm>
          <a:prstGeom prst="rect">
            <a:avLst/>
          </a:prstGeom>
          <a:noFill/>
        </p:spPr>
        <p:txBody>
          <a:bodyPr wrap="square" lIns="91420" tIns="45711" rIns="91420" bIns="45711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6000" dirty="0" smtClean="0">
                <a:solidFill>
                  <a:srgbClr val="FFFFFF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6000" b="1" dirty="0" smtClean="0">
                <a:solidFill>
                  <a:srgbClr val="C6DE8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O QUE SERÁ NECESSÁRIO AOS </a:t>
            </a:r>
            <a:r>
              <a:rPr lang="en-US" sz="600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FUTUROS PROFISSIONAIS? </a:t>
            </a:r>
            <a:endParaRPr lang="en-US" sz="6000" dirty="0">
              <a:solidFill>
                <a:srgbClr val="FFFFFF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6000" dirty="0">
              <a:solidFill>
                <a:srgbClr val="FFFFFF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/>
          <p:cNvSpPr/>
          <p:nvPr/>
        </p:nvSpPr>
        <p:spPr bwMode="auto">
          <a:xfrm>
            <a:off x="0" y="-27384"/>
            <a:ext cx="4499992" cy="6309320"/>
          </a:xfrm>
          <a:prstGeom prst="rect">
            <a:avLst/>
          </a:prstGeom>
          <a:solidFill>
            <a:srgbClr val="00879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prstShdw prst="shdw17" dist="17961" dir="2700000">
              <a:srgbClr val="FF9900">
                <a:gamma/>
                <a:shade val="60000"/>
                <a:invGamma/>
              </a:srgbClr>
            </a:prstShdw>
          </a:effectLst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3399FF"/>
              </a:buClr>
              <a:buSzTx/>
              <a:buFontTx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" name="Tit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23528" y="116632"/>
            <a:ext cx="4032448" cy="750888"/>
          </a:xfrm>
          <a:prstGeom prst="rect">
            <a:avLst/>
          </a:prstGeom>
        </p:spPr>
        <p:txBody>
          <a:bodyPr>
            <a:noAutofit/>
          </a:bodyPr>
          <a:lstStyle/>
          <a:p>
            <a:pPr fontAlgn="auto">
              <a:spcAft>
                <a:spcPts val="0"/>
              </a:spcAft>
              <a:buClr>
                <a:schemeClr val="bg1"/>
              </a:buClr>
              <a:defRPr/>
            </a:pPr>
            <a:r>
              <a:rPr lang="pt-BR" sz="28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écnico</a:t>
            </a:r>
          </a:p>
        </p:txBody>
      </p:sp>
      <p:sp>
        <p:nvSpPr>
          <p:cNvPr id="3" name="Title 1"/>
          <p:cNvSpPr txBox="1">
            <a:spLocks/>
          </p:cNvSpPr>
          <p:nvPr/>
        </p:nvSpPr>
        <p:spPr bwMode="auto">
          <a:xfrm>
            <a:off x="179512" y="927100"/>
            <a:ext cx="4248472" cy="45181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66090" indent="-365760">
              <a:buClr>
                <a:srgbClr val="C6DE89"/>
              </a:buClr>
              <a:buFont typeface="Wingdings" pitchFamily="2" charset="2"/>
              <a:buChar char="§"/>
            </a:pPr>
            <a:r>
              <a:rPr lang="pt-BR" altLang="zh-CN" sz="16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estão de quantidades massivas de dados (data </a:t>
            </a:r>
            <a:r>
              <a:rPr lang="pt-BR" altLang="zh-CN" sz="1600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ining</a:t>
            </a:r>
            <a:r>
              <a:rPr lang="pt-BR" altLang="zh-CN" sz="16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)</a:t>
            </a:r>
          </a:p>
          <a:p>
            <a:pPr marL="366090" indent="-365760">
              <a:buClr>
                <a:srgbClr val="C6DE89"/>
              </a:buClr>
              <a:buFont typeface="Wingdings" pitchFamily="2" charset="2"/>
              <a:buChar char="§"/>
            </a:pPr>
            <a:endParaRPr lang="pt-BR" altLang="zh-CN" sz="1600" dirty="0" smtClean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366090" indent="-365760">
              <a:buClr>
                <a:srgbClr val="C6DE89"/>
              </a:buClr>
              <a:buFont typeface="Wingdings" pitchFamily="2" charset="2"/>
              <a:buChar char="§"/>
            </a:pPr>
            <a:r>
              <a:rPr lang="pt-BR" altLang="zh-CN" sz="16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erenciamento de incertezas </a:t>
            </a:r>
          </a:p>
          <a:p>
            <a:pPr marL="823125" lvl="1" indent="-365760">
              <a:buClr>
                <a:srgbClr val="C6DE89"/>
              </a:buClr>
              <a:buFont typeface="Wingdings" pitchFamily="2" charset="2"/>
              <a:buChar char="§"/>
            </a:pPr>
            <a:r>
              <a:rPr lang="pt-BR" altLang="zh-CN" sz="16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imulação </a:t>
            </a:r>
          </a:p>
          <a:p>
            <a:pPr marL="823125" lvl="1" indent="-365760">
              <a:buClr>
                <a:srgbClr val="C6DE89"/>
              </a:buClr>
              <a:buFont typeface="Wingdings" pitchFamily="2" charset="2"/>
              <a:buChar char="§"/>
            </a:pPr>
            <a:r>
              <a:rPr lang="pt-BR" altLang="zh-CN" sz="16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statística</a:t>
            </a:r>
          </a:p>
          <a:p>
            <a:pPr marL="366090" indent="-365760">
              <a:buClr>
                <a:srgbClr val="C6DE89"/>
              </a:buClr>
              <a:buFont typeface="Wingdings" pitchFamily="2" charset="2"/>
              <a:buChar char="§"/>
            </a:pPr>
            <a:endParaRPr lang="pt-BR" altLang="zh-CN" sz="1600" dirty="0" smtClean="0">
              <a:solidFill>
                <a:srgbClr val="C6DE8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366090" indent="-365760">
              <a:buClr>
                <a:srgbClr val="C6DE89"/>
              </a:buClr>
              <a:buFont typeface="Wingdings" pitchFamily="2" charset="2"/>
              <a:buChar char="§"/>
            </a:pPr>
            <a:r>
              <a:rPr lang="pt-BR" altLang="zh-CN" sz="16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elocidade nas soluções</a:t>
            </a:r>
          </a:p>
          <a:p>
            <a:pPr marL="823125" lvl="1" indent="-365760">
              <a:buClr>
                <a:srgbClr val="C6DE89"/>
              </a:buClr>
              <a:buFont typeface="Wingdings" pitchFamily="2" charset="2"/>
              <a:buChar char="§"/>
            </a:pPr>
            <a:r>
              <a:rPr lang="pt-BR" altLang="zh-CN" sz="16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totipagem</a:t>
            </a:r>
          </a:p>
          <a:p>
            <a:pPr marL="823125" lvl="1" indent="-365760">
              <a:buClr>
                <a:srgbClr val="C6DE89"/>
              </a:buClr>
              <a:buFont typeface="Wingdings" pitchFamily="2" charset="2"/>
              <a:buChar char="§"/>
            </a:pPr>
            <a:r>
              <a:rPr lang="pt-BR" altLang="zh-CN" sz="16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xperimentação</a:t>
            </a:r>
          </a:p>
          <a:p>
            <a:pPr marL="366090" indent="-365760">
              <a:buClr>
                <a:srgbClr val="C6DE89"/>
              </a:buClr>
              <a:buFont typeface="Wingdings" pitchFamily="2" charset="2"/>
              <a:buChar char="§"/>
            </a:pPr>
            <a:endParaRPr lang="pt-BR" altLang="zh-CN" sz="1600" dirty="0" smtClean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366090" indent="-365760">
              <a:buClr>
                <a:srgbClr val="C6DE89"/>
              </a:buClr>
              <a:buFont typeface="Wingdings" pitchFamily="2" charset="2"/>
              <a:buChar char="§"/>
            </a:pPr>
            <a:r>
              <a:rPr lang="pt-BR" altLang="zh-CN" sz="16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novação</a:t>
            </a:r>
          </a:p>
          <a:p>
            <a:pPr marL="823125" lvl="1" indent="-365760">
              <a:buClr>
                <a:srgbClr val="C6DE89"/>
              </a:buClr>
              <a:buFont typeface="Wingdings" pitchFamily="2" charset="2"/>
              <a:buChar char="§"/>
            </a:pPr>
            <a:r>
              <a:rPr lang="pt-BR" altLang="zh-CN" sz="1600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ulti</a:t>
            </a:r>
            <a:r>
              <a:rPr lang="pt-BR" altLang="zh-CN" sz="16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e </a:t>
            </a:r>
            <a:r>
              <a:rPr lang="pt-BR" altLang="zh-CN" sz="1600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ransdisciplinaridade</a:t>
            </a:r>
            <a:endParaRPr lang="pt-BR" altLang="zh-CN" sz="1600" dirty="0" smtClean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23125" lvl="1" indent="-365760">
              <a:buClr>
                <a:srgbClr val="C6DE89"/>
              </a:buClr>
              <a:buFont typeface="Wingdings" pitchFamily="2" charset="2"/>
              <a:buChar char="§"/>
            </a:pPr>
            <a:r>
              <a:rPr lang="pt-BR" altLang="zh-CN" sz="16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plicação de conhecimento</a:t>
            </a:r>
          </a:p>
          <a:p>
            <a:pPr marL="823125" lvl="1" indent="-365760">
              <a:buClr>
                <a:srgbClr val="C6DE89"/>
              </a:buClr>
              <a:buFont typeface="Wingdings" pitchFamily="2" charset="2"/>
              <a:buChar char="§"/>
            </a:pPr>
            <a:r>
              <a:rPr lang="pt-BR" altLang="zh-CN" sz="16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Fazer diferente / diferença</a:t>
            </a:r>
          </a:p>
          <a:p>
            <a:pPr marL="823125" lvl="1" indent="-365760">
              <a:buClr>
                <a:srgbClr val="C6DE89"/>
              </a:buClr>
              <a:buFont typeface="Wingdings" pitchFamily="2" charset="2"/>
              <a:buChar char="§"/>
            </a:pPr>
            <a:endParaRPr lang="pt-BR" altLang="zh-CN" sz="1600" dirty="0" smtClean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361950" lvl="1" indent="-361950">
              <a:buClr>
                <a:srgbClr val="C6DE89"/>
              </a:buClr>
              <a:buFont typeface="Wingdings" pitchFamily="2" charset="2"/>
              <a:buChar char="§"/>
            </a:pPr>
            <a:r>
              <a:rPr lang="pt-BR" altLang="zh-CN" sz="16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dentificação e solução de problemas</a:t>
            </a:r>
          </a:p>
          <a:p>
            <a:pPr marL="361950" lvl="1" indent="-361950">
              <a:buClr>
                <a:srgbClr val="C6DE89"/>
              </a:buClr>
              <a:buFont typeface="Wingdings" pitchFamily="2" charset="2"/>
              <a:buChar char="§"/>
            </a:pPr>
            <a:endParaRPr lang="pt-BR" altLang="zh-CN" sz="1600" dirty="0" smtClean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361950" lvl="1" indent="-361950">
              <a:buClr>
                <a:srgbClr val="C6DE89"/>
              </a:buClr>
              <a:buFont typeface="Wingdings" pitchFamily="2" charset="2"/>
              <a:buChar char="§"/>
            </a:pPr>
            <a:r>
              <a:rPr lang="pt-BR" altLang="zh-CN" sz="16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estão de projetos</a:t>
            </a:r>
          </a:p>
          <a:p>
            <a:pPr marL="361950" lvl="1" indent="-361950">
              <a:buClr>
                <a:srgbClr val="C6DE89"/>
              </a:buClr>
              <a:buFont typeface="Wingdings" pitchFamily="2" charset="2"/>
              <a:buChar char="§"/>
            </a:pPr>
            <a:endParaRPr lang="pt-BR" altLang="zh-CN" sz="1600" dirty="0" smtClean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361950" lvl="1" indent="-361950">
              <a:buClr>
                <a:srgbClr val="C6DE89"/>
              </a:buClr>
              <a:buFont typeface="Wingdings" pitchFamily="2" charset="2"/>
              <a:buChar char="§"/>
            </a:pPr>
            <a:r>
              <a:rPr lang="pt-BR" altLang="zh-CN" sz="16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...</a:t>
            </a:r>
          </a:p>
          <a:p>
            <a:pPr marL="95250" lvl="1" indent="361950">
              <a:buClr>
                <a:srgbClr val="C6DE89"/>
              </a:buClr>
              <a:buFont typeface="Wingdings" pitchFamily="2" charset="2"/>
              <a:buChar char="§"/>
            </a:pPr>
            <a:endParaRPr lang="pt-BR" altLang="zh-CN" sz="1600" dirty="0" smtClean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366090" indent="-365760">
              <a:buClr>
                <a:srgbClr val="C6DE89"/>
              </a:buClr>
              <a:buFont typeface="Wingdings" pitchFamily="2" charset="2"/>
              <a:buChar char="§"/>
            </a:pPr>
            <a:endParaRPr lang="pt-BR" altLang="zh-CN" sz="1600" dirty="0" smtClean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366090" indent="-365760">
              <a:buClr>
                <a:srgbClr val="C6DE89"/>
              </a:buClr>
              <a:buFont typeface="Wingdings" pitchFamily="2" charset="2"/>
              <a:buChar char="§"/>
            </a:pPr>
            <a:endParaRPr lang="pt-BR" altLang="zh-CN" sz="1600" dirty="0" smtClean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23125" lvl="1" indent="-365760">
              <a:buClr>
                <a:srgbClr val="C6DE89"/>
              </a:buClr>
              <a:buFont typeface="Wingdings" pitchFamily="2" charset="2"/>
              <a:buChar char="§"/>
            </a:pPr>
            <a:endParaRPr lang="pt-BR" altLang="zh-CN" sz="1600" dirty="0" smtClean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Retângulo de cantos arredondados 4"/>
          <p:cNvSpPr/>
          <p:nvPr/>
        </p:nvSpPr>
        <p:spPr>
          <a:xfrm>
            <a:off x="5004048" y="908720"/>
            <a:ext cx="4176464" cy="4680520"/>
          </a:xfrm>
          <a:prstGeom prst="roundRect">
            <a:avLst>
              <a:gd name="adj" fmla="val 3896"/>
            </a:avLst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>
              <a:buClr>
                <a:srgbClr val="008791"/>
              </a:buClr>
              <a:buFont typeface="Wingdings" pitchFamily="2" charset="2"/>
              <a:buChar char="§"/>
            </a:pPr>
            <a:r>
              <a:rPr lang="pt-BR" sz="1600" b="1" dirty="0" smtClean="0">
                <a:solidFill>
                  <a:srgbClr val="00879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RIAR estratégias envolventes e inspiradoras</a:t>
            </a:r>
          </a:p>
          <a:p>
            <a:pPr lvl="1">
              <a:buClr>
                <a:srgbClr val="008791"/>
              </a:buClr>
              <a:buFont typeface="Wingdings" pitchFamily="2" charset="2"/>
              <a:buChar char="§"/>
            </a:pPr>
            <a:r>
              <a:rPr lang="pt-BR" sz="1600" b="1" dirty="0" smtClean="0">
                <a:solidFill>
                  <a:srgbClr val="00879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aixão</a:t>
            </a:r>
          </a:p>
          <a:p>
            <a:pPr lvl="1">
              <a:buClr>
                <a:srgbClr val="008791"/>
              </a:buClr>
              <a:buFont typeface="Wingdings" pitchFamily="2" charset="2"/>
              <a:buChar char="§"/>
            </a:pPr>
            <a:r>
              <a:rPr lang="pt-BR" sz="1600" b="1" dirty="0" smtClean="0">
                <a:solidFill>
                  <a:srgbClr val="00879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oragem</a:t>
            </a:r>
          </a:p>
          <a:p>
            <a:pPr lvl="1">
              <a:buClr>
                <a:srgbClr val="008791"/>
              </a:buClr>
              <a:buFont typeface="Wingdings" pitchFamily="2" charset="2"/>
              <a:buChar char="§"/>
            </a:pPr>
            <a:r>
              <a:rPr lang="pt-BR" sz="1600" b="1" dirty="0" smtClean="0">
                <a:solidFill>
                  <a:srgbClr val="00879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spírito de Vitória</a:t>
            </a:r>
          </a:p>
          <a:p>
            <a:pPr lvl="0">
              <a:buClr>
                <a:srgbClr val="008791"/>
              </a:buClr>
              <a:buFont typeface="Wingdings" pitchFamily="2" charset="2"/>
              <a:buChar char="§"/>
            </a:pPr>
            <a:endParaRPr lang="pt-BR" sz="1600" b="1" dirty="0" smtClean="0">
              <a:solidFill>
                <a:srgbClr val="00879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0">
              <a:buClr>
                <a:srgbClr val="008791"/>
              </a:buClr>
              <a:buFont typeface="Wingdings" pitchFamily="2" charset="2"/>
              <a:buChar char="§"/>
            </a:pPr>
            <a:endParaRPr lang="pt-BR" sz="1600" b="1" dirty="0" smtClean="0">
              <a:solidFill>
                <a:srgbClr val="00879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0">
              <a:buClr>
                <a:srgbClr val="008791"/>
              </a:buClr>
              <a:buFont typeface="Wingdings" pitchFamily="2" charset="2"/>
              <a:buChar char="§"/>
            </a:pPr>
            <a:r>
              <a:rPr lang="pt-BR" sz="1600" b="1" dirty="0" smtClean="0">
                <a:solidFill>
                  <a:srgbClr val="00879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ONQUISTAR e CULTIVAR seguidores</a:t>
            </a:r>
          </a:p>
          <a:p>
            <a:pPr lvl="1">
              <a:buClr>
                <a:srgbClr val="008791"/>
              </a:buClr>
              <a:buFont typeface="Wingdings" pitchFamily="2" charset="2"/>
              <a:buChar char="§"/>
            </a:pPr>
            <a:r>
              <a:rPr lang="pt-BR" sz="1600" b="1" dirty="0" smtClean="0">
                <a:solidFill>
                  <a:srgbClr val="00879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esenvolver talentos</a:t>
            </a:r>
          </a:p>
          <a:p>
            <a:pPr lvl="1">
              <a:buClr>
                <a:srgbClr val="008791"/>
              </a:buClr>
              <a:buFont typeface="Wingdings" pitchFamily="2" charset="2"/>
              <a:buChar char="§"/>
            </a:pPr>
            <a:r>
              <a:rPr lang="pt-BR" sz="1600" b="1" dirty="0" smtClean="0">
                <a:solidFill>
                  <a:srgbClr val="00879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rabalhar em time</a:t>
            </a:r>
          </a:p>
          <a:p>
            <a:pPr lvl="0">
              <a:buClr>
                <a:srgbClr val="008791"/>
              </a:buClr>
              <a:buFont typeface="Wingdings" pitchFamily="2" charset="2"/>
              <a:buChar char="§"/>
            </a:pPr>
            <a:endParaRPr lang="pt-BR" sz="1600" b="1" dirty="0" smtClean="0">
              <a:solidFill>
                <a:srgbClr val="00879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0">
              <a:buClr>
                <a:srgbClr val="008791"/>
              </a:buClr>
              <a:buFont typeface="Wingdings" pitchFamily="2" charset="2"/>
              <a:buChar char="§"/>
            </a:pPr>
            <a:endParaRPr lang="pt-BR" sz="1600" b="1" dirty="0" smtClean="0">
              <a:solidFill>
                <a:srgbClr val="00879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0">
              <a:buClr>
                <a:srgbClr val="008791"/>
              </a:buClr>
              <a:buFont typeface="Wingdings" pitchFamily="2" charset="2"/>
              <a:buChar char="§"/>
            </a:pPr>
            <a:r>
              <a:rPr lang="pt-BR" sz="1600" b="1" dirty="0" smtClean="0">
                <a:solidFill>
                  <a:srgbClr val="00879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NTREGAR resultados diferenciados</a:t>
            </a:r>
          </a:p>
          <a:p>
            <a:pPr lvl="1">
              <a:buClr>
                <a:srgbClr val="008791"/>
              </a:buClr>
              <a:buFont typeface="Wingdings" pitchFamily="2" charset="2"/>
              <a:buChar char="§"/>
            </a:pPr>
            <a:r>
              <a:rPr lang="pt-BR" sz="1600" b="1" dirty="0" smtClean="0">
                <a:solidFill>
                  <a:srgbClr val="00879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elocidade</a:t>
            </a:r>
          </a:p>
          <a:p>
            <a:pPr lvl="1">
              <a:buClr>
                <a:srgbClr val="008791"/>
              </a:buClr>
              <a:buFont typeface="Wingdings" pitchFamily="2" charset="2"/>
              <a:buChar char="§"/>
            </a:pPr>
            <a:r>
              <a:rPr lang="pt-BR" sz="1600" b="1" dirty="0" smtClean="0">
                <a:solidFill>
                  <a:srgbClr val="00879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enso de propriedade</a:t>
            </a:r>
          </a:p>
          <a:p>
            <a:pPr lvl="1">
              <a:buClr>
                <a:srgbClr val="008791"/>
              </a:buClr>
              <a:buFont typeface="Wingdings" pitchFamily="2" charset="2"/>
              <a:buChar char="§"/>
            </a:pPr>
            <a:r>
              <a:rPr lang="pt-BR" sz="1600" b="1" dirty="0" smtClean="0">
                <a:solidFill>
                  <a:srgbClr val="00879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omunicação objetiva</a:t>
            </a:r>
          </a:p>
          <a:p>
            <a:pPr>
              <a:buClr>
                <a:srgbClr val="008791"/>
              </a:buClr>
              <a:buFont typeface="Wingdings" pitchFamily="2" charset="2"/>
              <a:buChar char="§"/>
            </a:pPr>
            <a:endParaRPr lang="pt-BR" sz="1600" b="1" dirty="0" smtClean="0">
              <a:solidFill>
                <a:srgbClr val="00879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buClr>
                <a:srgbClr val="008791"/>
              </a:buClr>
              <a:buFont typeface="Wingdings" pitchFamily="2" charset="2"/>
              <a:buChar char="§"/>
            </a:pPr>
            <a:r>
              <a:rPr lang="pt-BR" sz="1600" b="1" dirty="0" smtClean="0">
                <a:solidFill>
                  <a:srgbClr val="00879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...</a:t>
            </a:r>
          </a:p>
        </p:txBody>
      </p:sp>
      <p:sp>
        <p:nvSpPr>
          <p:cNvPr id="6" name="Title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076056" y="116632"/>
            <a:ext cx="3960440" cy="750888"/>
          </a:xfrm>
          <a:prstGeom prst="rect">
            <a:avLst/>
          </a:prstGeom>
        </p:spPr>
        <p:txBody>
          <a:bodyPr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pt-BR" sz="28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Comportamental</a:t>
            </a:r>
          </a:p>
        </p:txBody>
      </p:sp>
      <p:sp>
        <p:nvSpPr>
          <p:cNvPr id="11" name="Retângulo 10"/>
          <p:cNvSpPr/>
          <p:nvPr/>
        </p:nvSpPr>
        <p:spPr bwMode="auto">
          <a:xfrm>
            <a:off x="0" y="5896322"/>
            <a:ext cx="9144000" cy="432048"/>
          </a:xfrm>
          <a:prstGeom prst="rect">
            <a:avLst/>
          </a:prstGeom>
          <a:solidFill>
            <a:srgbClr val="6666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R="0" indent="0" algn="ctr">
              <a:lnSpc>
                <a:spcPct val="100000"/>
              </a:lnSpc>
              <a:buClr>
                <a:srgbClr val="3399FF"/>
              </a:buClr>
              <a:buSzTx/>
              <a:buFontTx/>
              <a:buNone/>
              <a:tabLst/>
              <a:defRPr/>
            </a:pPr>
            <a:r>
              <a:rPr lang="pt-BR" sz="2000" dirty="0" smtClean="0">
                <a:solidFill>
                  <a:schemeClr val="lt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bordagem integrada aumenta a geração de valor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94818" name="Picture 2">
            <a:hlinkClick r:id="rId3" action="ppaction://hlinkfile"/>
          </p:cNvPr>
          <p:cNvPicPr>
            <a:picLocks noChangeAspect="1" noChangeArrowheads="1"/>
          </p:cNvPicPr>
          <p:nvPr/>
        </p:nvPicPr>
        <p:blipFill>
          <a:blip r:embed="rId4" cstate="print"/>
          <a:srcRect t="21282" r="2323" b="26729"/>
          <a:stretch>
            <a:fillRect/>
          </a:stretch>
        </p:blipFill>
        <p:spPr bwMode="auto">
          <a:xfrm>
            <a:off x="0" y="1628800"/>
            <a:ext cx="9144000" cy="2736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107504" y="210773"/>
            <a:ext cx="9036496" cy="750888"/>
          </a:xfrm>
          <a:prstGeom prst="rect">
            <a:avLst/>
          </a:prstGeom>
        </p:spPr>
        <p:txBody>
          <a:bodyPr>
            <a:normAutofit fontScale="92500" lnSpcReduction="2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2800" dirty="0" smtClean="0">
                <a:solidFill>
                  <a:srgbClr val="666666"/>
                </a:solidFill>
                <a:latin typeface="Embraco BeauSans" pitchFamily="50" charset="0"/>
                <a:ea typeface="+mj-ea"/>
                <a:cs typeface="Tahoma"/>
              </a:rPr>
              <a:t>MIT Hacking Medicine – “To accelerate Medical Innovation”</a:t>
            </a:r>
            <a:endParaRPr lang="en-US" sz="2800" dirty="0">
              <a:solidFill>
                <a:srgbClr val="666666"/>
              </a:solidFill>
              <a:latin typeface="Embraco BeauSans" pitchFamily="50" charset="0"/>
              <a:ea typeface="+mj-ea"/>
              <a:cs typeface="Tahoma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57629" y="4418528"/>
            <a:ext cx="820891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 smtClean="0"/>
              <a:t>hack·a·thon</a:t>
            </a:r>
            <a:r>
              <a:rPr lang="en-US" sz="1400" dirty="0" smtClean="0"/>
              <a:t>; ˈ</a:t>
            </a:r>
            <a:r>
              <a:rPr lang="en-US" sz="1400" dirty="0" err="1" smtClean="0"/>
              <a:t>hakəˌTHän</a:t>
            </a:r>
            <a:r>
              <a:rPr lang="en-US" sz="1400" dirty="0" smtClean="0"/>
              <a:t>/; </a:t>
            </a:r>
            <a:r>
              <a:rPr lang="en-US" sz="1400" i="1" dirty="0" err="1" smtClean="0"/>
              <a:t>nouninformal</a:t>
            </a:r>
            <a:endParaRPr lang="en-US" sz="1400" dirty="0" smtClean="0"/>
          </a:p>
          <a:p>
            <a:r>
              <a:rPr lang="en-US" sz="1400" dirty="0" smtClean="0"/>
              <a:t>an event, typically lasting several days, in which a large number of people meet to engage in collaborative computer programming</a:t>
            </a:r>
            <a:endParaRPr lang="en-US" sz="1400" dirty="0"/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0" y="0"/>
            <a:ext cx="9144000" cy="6381328"/>
          </a:xfrm>
          <a:prstGeom prst="rect">
            <a:avLst/>
          </a:prstGeom>
          <a:solidFill>
            <a:srgbClr val="69B3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600" dirty="0">
              <a:solidFill>
                <a:srgbClr val="FFFFFF"/>
              </a:solidFill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0" y="836712"/>
            <a:ext cx="8892480" cy="4708963"/>
          </a:xfrm>
          <a:prstGeom prst="rect">
            <a:avLst/>
          </a:prstGeom>
          <a:noFill/>
        </p:spPr>
        <p:txBody>
          <a:bodyPr wrap="square" lIns="91420" tIns="45711" rIns="91420" bIns="45711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6000" dirty="0" smtClean="0">
                <a:solidFill>
                  <a:srgbClr val="FFFFFF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6000" b="1" dirty="0" smtClean="0">
                <a:solidFill>
                  <a:srgbClr val="C6DE8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OMO AS </a:t>
            </a:r>
            <a:r>
              <a:rPr lang="en-US" sz="600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UNIVERSIDADES </a:t>
            </a:r>
            <a:r>
              <a:rPr lang="en-US" sz="6000" b="1" dirty="0" smtClean="0">
                <a:solidFill>
                  <a:srgbClr val="C6DE8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ODEM POTENCIALIZAR </a:t>
            </a:r>
            <a:r>
              <a:rPr lang="en-US" sz="600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6000" b="1" dirty="0" smtClean="0">
                <a:solidFill>
                  <a:srgbClr val="C6DE8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SSAS</a:t>
            </a:r>
            <a:r>
              <a:rPr lang="en-US" sz="6000" dirty="0" smtClean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HABILIDADES?</a:t>
            </a:r>
            <a:endParaRPr lang="en-US" sz="6000" dirty="0">
              <a:solidFill>
                <a:srgbClr val="FFFFFF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TTeuO..E2A1PFAuaZO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7tcyomb0a32_Xg7REGx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SsnINA_EuLYeYTG0L1m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TTeuO..E2A1PFAuaZOR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SsnINA_EuLYeYTG0L1m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TTeuO..E2A1PFAuaZOR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SsnINA_EuLYeYTG0L1m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TTeuO..E2A1PFAuaZOR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SsnINA_EuLYeYTG0L1m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TTeuO..E2A1PFAuaZOR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SsnINA_EuLYeYTG0L1m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TTeuO..E2A1PFAuaZOR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SsnINA_EuLYeYTG0L1m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SsnINA_EuLYeYTG0L1m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TTeuO..E2A1PFAuaZOR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SsnINA_EuLYeYTG0L1m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TTeuO..E2A1PFAuaZOR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TTeuO..E2A1PFAuaZOR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SsnINA_EuLYeYTG0L1m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TTeuO..E2A1PFAuaZOR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SsnINA_EuLYeYTG0L1m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TTeuO..E2A1PFAuaZOR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_SHYzg1EuFMk0wfHh_z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Oc2oso9U2_eHTcGlsFZ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cthMmGy02us1wCD64c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cthMmGy02us1wCD64cR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_SHYzg1EuFMk0wfHh_z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Oc2oso9U2_eHTcGlsFZ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_SHYzg1EuFMk0wfHh_z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Oc2oso9U2_eHTcGlsFZ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OPcitl0qSVF4dp15c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SsnINA_EuLYeYTG0L1mQ"/>
</p:tagLst>
</file>

<file path=ppt/theme/theme1.xml><?xml version="1.0" encoding="utf-8"?>
<a:theme xmlns:a="http://schemas.openxmlformats.org/drawingml/2006/main" name="13_Embraco Presentations Template 01">
  <a:themeElements>
    <a:clrScheme name="11_Zone Test 1">
      <a:dk1>
        <a:srgbClr val="0C0C0C"/>
      </a:dk1>
      <a:lt1>
        <a:srgbClr val="FFFFFF"/>
      </a:lt1>
      <a:dk2>
        <a:srgbClr val="333333"/>
      </a:dk2>
      <a:lt2>
        <a:srgbClr val="808080"/>
      </a:lt2>
      <a:accent1>
        <a:srgbClr val="002C5F"/>
      </a:accent1>
      <a:accent2>
        <a:srgbClr val="53682B"/>
      </a:accent2>
      <a:accent3>
        <a:srgbClr val="FFFFFF"/>
      </a:accent3>
      <a:accent4>
        <a:srgbClr val="090909"/>
      </a:accent4>
      <a:accent5>
        <a:srgbClr val="AAACB6"/>
      </a:accent5>
      <a:accent6>
        <a:srgbClr val="4A5E26"/>
      </a:accent6>
      <a:hlink>
        <a:srgbClr val="0065BD"/>
      </a:hlink>
      <a:folHlink>
        <a:srgbClr val="EAAB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rgbClr val="FF9900">
              <a:gamma/>
              <a:shade val="60000"/>
              <a:invGamma/>
            </a:srgbClr>
          </a:prstShdw>
        </a:effectLst>
      </a:spPr>
      <a:bodyPr vert="horz" wrap="square" lIns="0" tIns="45720" rIns="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3399FF"/>
          </a:buClr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rgbClr val="FF9900">
              <a:gamma/>
              <a:shade val="60000"/>
              <a:invGamma/>
            </a:srgbClr>
          </a:prstShdw>
        </a:effectLst>
      </a:spPr>
      <a:bodyPr vert="horz" wrap="square" lIns="0" tIns="45720" rIns="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3399FF"/>
          </a:buClr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  <a:txDef>
      <a:spPr/>
      <a:bodyPr/>
      <a:lstStyle>
        <a:defPPr marL="342900" marR="0" indent="-34290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ts val="600"/>
          </a:spcAft>
          <a:buClrTx/>
          <a:buSzTx/>
          <a:buFontTx/>
          <a:buNone/>
          <a:tabLst/>
          <a:defRPr kumimoji="0" sz="2000" b="1" i="0" u="none" strike="noStrike" kern="0" cap="none" spc="0" normalizeH="0" baseline="0" noProof="0" dirty="0" smtClean="0">
            <a:ln>
              <a:noFill/>
            </a:ln>
            <a:solidFill>
              <a:schemeClr val="tx2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>
    <a:extraClrScheme>
      <a:clrScheme name="11_Zone Test 1">
        <a:dk1>
          <a:srgbClr val="0C0C0C"/>
        </a:dk1>
        <a:lt1>
          <a:srgbClr val="FFFFFF"/>
        </a:lt1>
        <a:dk2>
          <a:srgbClr val="333333"/>
        </a:dk2>
        <a:lt2>
          <a:srgbClr val="808080"/>
        </a:lt2>
        <a:accent1>
          <a:srgbClr val="002C5F"/>
        </a:accent1>
        <a:accent2>
          <a:srgbClr val="53682B"/>
        </a:accent2>
        <a:accent3>
          <a:srgbClr val="FFFFFF"/>
        </a:accent3>
        <a:accent4>
          <a:srgbClr val="090909"/>
        </a:accent4>
        <a:accent5>
          <a:srgbClr val="AAACB6"/>
        </a:accent5>
        <a:accent6>
          <a:srgbClr val="4A5E26"/>
        </a:accent6>
        <a:hlink>
          <a:srgbClr val="0065BD"/>
        </a:hlink>
        <a:folHlink>
          <a:srgbClr val="EAAB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2_Embraco Presentations Template 01">
  <a:themeElements>
    <a:clrScheme name="11_Zone Test 1">
      <a:dk1>
        <a:srgbClr val="0C0C0C"/>
      </a:dk1>
      <a:lt1>
        <a:srgbClr val="FFFFFF"/>
      </a:lt1>
      <a:dk2>
        <a:srgbClr val="333333"/>
      </a:dk2>
      <a:lt2>
        <a:srgbClr val="808080"/>
      </a:lt2>
      <a:accent1>
        <a:srgbClr val="002C5F"/>
      </a:accent1>
      <a:accent2>
        <a:srgbClr val="53682B"/>
      </a:accent2>
      <a:accent3>
        <a:srgbClr val="FFFFFF"/>
      </a:accent3>
      <a:accent4>
        <a:srgbClr val="090909"/>
      </a:accent4>
      <a:accent5>
        <a:srgbClr val="AAACB6"/>
      </a:accent5>
      <a:accent6>
        <a:srgbClr val="4A5E26"/>
      </a:accent6>
      <a:hlink>
        <a:srgbClr val="0065BD"/>
      </a:hlink>
      <a:folHlink>
        <a:srgbClr val="EAAB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rgbClr val="FF9900">
              <a:gamma/>
              <a:shade val="60000"/>
              <a:invGamma/>
            </a:srgbClr>
          </a:prstShdw>
        </a:effectLst>
      </a:spPr>
      <a:bodyPr vert="horz" wrap="square" lIns="0" tIns="45720" rIns="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3399FF"/>
          </a:buClr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rgbClr val="FF9900">
              <a:gamma/>
              <a:shade val="60000"/>
              <a:invGamma/>
            </a:srgbClr>
          </a:prstShdw>
        </a:effectLst>
      </a:spPr>
      <a:bodyPr vert="horz" wrap="square" lIns="0" tIns="45720" rIns="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3399FF"/>
          </a:buClr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  <a:txDef>
      <a:spPr/>
      <a:bodyPr/>
      <a:lstStyle>
        <a:defPPr marL="342900" marR="0" indent="-34290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ts val="600"/>
          </a:spcAft>
          <a:buClrTx/>
          <a:buSzTx/>
          <a:buFontTx/>
          <a:buNone/>
          <a:tabLst/>
          <a:defRPr kumimoji="0" sz="2000" b="1" i="0" u="none" strike="noStrike" kern="0" cap="none" spc="0" normalizeH="0" baseline="0" noProof="0" dirty="0" smtClean="0">
            <a:ln>
              <a:noFill/>
            </a:ln>
            <a:solidFill>
              <a:schemeClr val="tx2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>
    <a:extraClrScheme>
      <a:clrScheme name="11_Zone Test 1">
        <a:dk1>
          <a:srgbClr val="0C0C0C"/>
        </a:dk1>
        <a:lt1>
          <a:srgbClr val="FFFFFF"/>
        </a:lt1>
        <a:dk2>
          <a:srgbClr val="333333"/>
        </a:dk2>
        <a:lt2>
          <a:srgbClr val="808080"/>
        </a:lt2>
        <a:accent1>
          <a:srgbClr val="002C5F"/>
        </a:accent1>
        <a:accent2>
          <a:srgbClr val="53682B"/>
        </a:accent2>
        <a:accent3>
          <a:srgbClr val="FFFFFF"/>
        </a:accent3>
        <a:accent4>
          <a:srgbClr val="090909"/>
        </a:accent4>
        <a:accent5>
          <a:srgbClr val="AAACB6"/>
        </a:accent5>
        <a:accent6>
          <a:srgbClr val="4A5E26"/>
        </a:accent6>
        <a:hlink>
          <a:srgbClr val="0065BD"/>
        </a:hlink>
        <a:folHlink>
          <a:srgbClr val="EAAB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23_Embraco Presentations Template 01">
  <a:themeElements>
    <a:clrScheme name="11_Zone Test 1">
      <a:dk1>
        <a:srgbClr val="0C0C0C"/>
      </a:dk1>
      <a:lt1>
        <a:srgbClr val="FFFFFF"/>
      </a:lt1>
      <a:dk2>
        <a:srgbClr val="333333"/>
      </a:dk2>
      <a:lt2>
        <a:srgbClr val="808080"/>
      </a:lt2>
      <a:accent1>
        <a:srgbClr val="002C5F"/>
      </a:accent1>
      <a:accent2>
        <a:srgbClr val="53682B"/>
      </a:accent2>
      <a:accent3>
        <a:srgbClr val="FFFFFF"/>
      </a:accent3>
      <a:accent4>
        <a:srgbClr val="090909"/>
      </a:accent4>
      <a:accent5>
        <a:srgbClr val="AAACB6"/>
      </a:accent5>
      <a:accent6>
        <a:srgbClr val="4A5E26"/>
      </a:accent6>
      <a:hlink>
        <a:srgbClr val="0065BD"/>
      </a:hlink>
      <a:folHlink>
        <a:srgbClr val="EAAB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rgbClr val="FF9900">
              <a:gamma/>
              <a:shade val="60000"/>
              <a:invGamma/>
            </a:srgbClr>
          </a:prstShdw>
        </a:effectLst>
      </a:spPr>
      <a:bodyPr vert="horz" wrap="square" lIns="0" tIns="45720" rIns="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3399FF"/>
          </a:buClr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rgbClr val="FF9900">
              <a:gamma/>
              <a:shade val="60000"/>
              <a:invGamma/>
            </a:srgbClr>
          </a:prstShdw>
        </a:effectLst>
      </a:spPr>
      <a:bodyPr vert="horz" wrap="square" lIns="0" tIns="45720" rIns="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3399FF"/>
          </a:buClr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  <a:txDef>
      <a:spPr/>
      <a:bodyPr/>
      <a:lstStyle>
        <a:defPPr marL="342900" marR="0" indent="-34290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ts val="600"/>
          </a:spcAft>
          <a:buClrTx/>
          <a:buSzTx/>
          <a:buFontTx/>
          <a:buNone/>
          <a:tabLst/>
          <a:defRPr kumimoji="0" sz="2000" b="1" i="0" u="none" strike="noStrike" kern="0" cap="none" spc="0" normalizeH="0" baseline="0" noProof="0" dirty="0" smtClean="0">
            <a:ln>
              <a:noFill/>
            </a:ln>
            <a:solidFill>
              <a:schemeClr val="tx2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>
    <a:extraClrScheme>
      <a:clrScheme name="11_Zone Test 1">
        <a:dk1>
          <a:srgbClr val="0C0C0C"/>
        </a:dk1>
        <a:lt1>
          <a:srgbClr val="FFFFFF"/>
        </a:lt1>
        <a:dk2>
          <a:srgbClr val="333333"/>
        </a:dk2>
        <a:lt2>
          <a:srgbClr val="808080"/>
        </a:lt2>
        <a:accent1>
          <a:srgbClr val="002C5F"/>
        </a:accent1>
        <a:accent2>
          <a:srgbClr val="53682B"/>
        </a:accent2>
        <a:accent3>
          <a:srgbClr val="FFFFFF"/>
        </a:accent3>
        <a:accent4>
          <a:srgbClr val="090909"/>
        </a:accent4>
        <a:accent5>
          <a:srgbClr val="AAACB6"/>
        </a:accent5>
        <a:accent6>
          <a:srgbClr val="4A5E26"/>
        </a:accent6>
        <a:hlink>
          <a:srgbClr val="0065BD"/>
        </a:hlink>
        <a:folHlink>
          <a:srgbClr val="EAAB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4_Embraco Presentations Template 01">
  <a:themeElements>
    <a:clrScheme name="11_Zone Test 1">
      <a:dk1>
        <a:srgbClr val="0C0C0C"/>
      </a:dk1>
      <a:lt1>
        <a:srgbClr val="FFFFFF"/>
      </a:lt1>
      <a:dk2>
        <a:srgbClr val="333333"/>
      </a:dk2>
      <a:lt2>
        <a:srgbClr val="808080"/>
      </a:lt2>
      <a:accent1>
        <a:srgbClr val="002C5F"/>
      </a:accent1>
      <a:accent2>
        <a:srgbClr val="53682B"/>
      </a:accent2>
      <a:accent3>
        <a:srgbClr val="FFFFFF"/>
      </a:accent3>
      <a:accent4>
        <a:srgbClr val="090909"/>
      </a:accent4>
      <a:accent5>
        <a:srgbClr val="AAACB6"/>
      </a:accent5>
      <a:accent6>
        <a:srgbClr val="4A5E26"/>
      </a:accent6>
      <a:hlink>
        <a:srgbClr val="0065BD"/>
      </a:hlink>
      <a:folHlink>
        <a:srgbClr val="EAAB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8791"/>
        </a:solidFill>
        <a:ln w="12700" cap="flat" cmpd="sng" algn="ctr">
          <a:solidFill>
            <a:srgbClr val="00879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45720" rIns="0" bIns="4572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3399FF"/>
          </a:buClr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rgbClr val="FF9900">
              <a:gamma/>
              <a:shade val="60000"/>
              <a:invGamma/>
            </a:srgbClr>
          </a:prstShdw>
        </a:effectLst>
      </a:spPr>
      <a:bodyPr vert="horz" wrap="square" lIns="0" tIns="45720" rIns="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3399FF"/>
          </a:buClr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  <a:txDef>
      <a:spPr/>
      <a:bodyPr/>
      <a:lstStyle>
        <a:defPPr marL="342900" marR="0" indent="-34290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ts val="600"/>
          </a:spcAft>
          <a:buClrTx/>
          <a:buSzTx/>
          <a:buFontTx/>
          <a:buNone/>
          <a:tabLst/>
          <a:defRPr kumimoji="0" sz="2000" b="1" i="0" u="none" strike="noStrike" kern="0" cap="none" spc="0" normalizeH="0" baseline="0" noProof="0" dirty="0" smtClean="0">
            <a:ln>
              <a:noFill/>
            </a:ln>
            <a:solidFill>
              <a:schemeClr val="tx2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>
    <a:extraClrScheme>
      <a:clrScheme name="11_Zone Test 1">
        <a:dk1>
          <a:srgbClr val="0C0C0C"/>
        </a:dk1>
        <a:lt1>
          <a:srgbClr val="FFFFFF"/>
        </a:lt1>
        <a:dk2>
          <a:srgbClr val="333333"/>
        </a:dk2>
        <a:lt2>
          <a:srgbClr val="808080"/>
        </a:lt2>
        <a:accent1>
          <a:srgbClr val="002C5F"/>
        </a:accent1>
        <a:accent2>
          <a:srgbClr val="53682B"/>
        </a:accent2>
        <a:accent3>
          <a:srgbClr val="FFFFFF"/>
        </a:accent3>
        <a:accent4>
          <a:srgbClr val="090909"/>
        </a:accent4>
        <a:accent5>
          <a:srgbClr val="AAACB6"/>
        </a:accent5>
        <a:accent6>
          <a:srgbClr val="4A5E26"/>
        </a:accent6>
        <a:hlink>
          <a:srgbClr val="0065BD"/>
        </a:hlink>
        <a:folHlink>
          <a:srgbClr val="EAAB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5_Embraco Presentations Template 01">
  <a:themeElements>
    <a:clrScheme name="11_Zone Test 1">
      <a:dk1>
        <a:srgbClr val="0C0C0C"/>
      </a:dk1>
      <a:lt1>
        <a:srgbClr val="FFFFFF"/>
      </a:lt1>
      <a:dk2>
        <a:srgbClr val="333333"/>
      </a:dk2>
      <a:lt2>
        <a:srgbClr val="808080"/>
      </a:lt2>
      <a:accent1>
        <a:srgbClr val="002C5F"/>
      </a:accent1>
      <a:accent2>
        <a:srgbClr val="53682B"/>
      </a:accent2>
      <a:accent3>
        <a:srgbClr val="FFFFFF"/>
      </a:accent3>
      <a:accent4>
        <a:srgbClr val="090909"/>
      </a:accent4>
      <a:accent5>
        <a:srgbClr val="AAACB6"/>
      </a:accent5>
      <a:accent6>
        <a:srgbClr val="4A5E26"/>
      </a:accent6>
      <a:hlink>
        <a:srgbClr val="0065BD"/>
      </a:hlink>
      <a:folHlink>
        <a:srgbClr val="EAAB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rgbClr val="FF9900">
              <a:gamma/>
              <a:shade val="60000"/>
              <a:invGamma/>
            </a:srgbClr>
          </a:prstShdw>
        </a:effectLst>
      </a:spPr>
      <a:bodyPr vert="horz" wrap="square" lIns="0" tIns="45720" rIns="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3399FF"/>
          </a:buClr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rgbClr val="FF9900">
              <a:gamma/>
              <a:shade val="60000"/>
              <a:invGamma/>
            </a:srgbClr>
          </a:prstShdw>
        </a:effectLst>
      </a:spPr>
      <a:bodyPr vert="horz" wrap="square" lIns="0" tIns="45720" rIns="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3399FF"/>
          </a:buClr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  <a:txDef>
      <a:spPr/>
      <a:bodyPr/>
      <a:lstStyle>
        <a:defPPr marL="342900" marR="0" indent="-34290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ts val="600"/>
          </a:spcAft>
          <a:buClrTx/>
          <a:buSzTx/>
          <a:buFontTx/>
          <a:buNone/>
          <a:tabLst/>
          <a:defRPr kumimoji="0" sz="2000" b="1" i="0" u="none" strike="noStrike" kern="0" cap="none" spc="0" normalizeH="0" baseline="0" noProof="0" dirty="0" smtClean="0">
            <a:ln>
              <a:noFill/>
            </a:ln>
            <a:solidFill>
              <a:schemeClr val="tx2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>
    <a:extraClrScheme>
      <a:clrScheme name="11_Zone Test 1">
        <a:dk1>
          <a:srgbClr val="0C0C0C"/>
        </a:dk1>
        <a:lt1>
          <a:srgbClr val="FFFFFF"/>
        </a:lt1>
        <a:dk2>
          <a:srgbClr val="333333"/>
        </a:dk2>
        <a:lt2>
          <a:srgbClr val="808080"/>
        </a:lt2>
        <a:accent1>
          <a:srgbClr val="002C5F"/>
        </a:accent1>
        <a:accent2>
          <a:srgbClr val="53682B"/>
        </a:accent2>
        <a:accent3>
          <a:srgbClr val="FFFFFF"/>
        </a:accent3>
        <a:accent4>
          <a:srgbClr val="090909"/>
        </a:accent4>
        <a:accent5>
          <a:srgbClr val="AAACB6"/>
        </a:accent5>
        <a:accent6>
          <a:srgbClr val="4A5E26"/>
        </a:accent6>
        <a:hlink>
          <a:srgbClr val="0065BD"/>
        </a:hlink>
        <a:folHlink>
          <a:srgbClr val="EAAB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6_Embraco Presentations Template 01">
  <a:themeElements>
    <a:clrScheme name="11_Zone Test 1">
      <a:dk1>
        <a:srgbClr val="0C0C0C"/>
      </a:dk1>
      <a:lt1>
        <a:srgbClr val="FFFFFF"/>
      </a:lt1>
      <a:dk2>
        <a:srgbClr val="333333"/>
      </a:dk2>
      <a:lt2>
        <a:srgbClr val="808080"/>
      </a:lt2>
      <a:accent1>
        <a:srgbClr val="002C5F"/>
      </a:accent1>
      <a:accent2>
        <a:srgbClr val="53682B"/>
      </a:accent2>
      <a:accent3>
        <a:srgbClr val="FFFFFF"/>
      </a:accent3>
      <a:accent4>
        <a:srgbClr val="090909"/>
      </a:accent4>
      <a:accent5>
        <a:srgbClr val="AAACB6"/>
      </a:accent5>
      <a:accent6>
        <a:srgbClr val="4A5E26"/>
      </a:accent6>
      <a:hlink>
        <a:srgbClr val="0065BD"/>
      </a:hlink>
      <a:folHlink>
        <a:srgbClr val="EAAB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rgbClr val="FF9900">
              <a:gamma/>
              <a:shade val="60000"/>
              <a:invGamma/>
            </a:srgbClr>
          </a:prstShdw>
        </a:effectLst>
      </a:spPr>
      <a:bodyPr vert="horz" wrap="square" lIns="0" tIns="45720" rIns="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3399FF"/>
          </a:buClr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rgbClr val="FF9900">
              <a:gamma/>
              <a:shade val="60000"/>
              <a:invGamma/>
            </a:srgbClr>
          </a:prstShdw>
        </a:effectLst>
      </a:spPr>
      <a:bodyPr vert="horz" wrap="square" lIns="0" tIns="45720" rIns="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3399FF"/>
          </a:buClr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  <a:txDef>
      <a:spPr/>
      <a:bodyPr/>
      <a:lstStyle>
        <a:defPPr marL="342900" marR="0" indent="-34290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ts val="600"/>
          </a:spcAft>
          <a:buClrTx/>
          <a:buSzTx/>
          <a:buFontTx/>
          <a:buNone/>
          <a:tabLst/>
          <a:defRPr kumimoji="0" sz="2000" b="1" i="0" u="none" strike="noStrike" kern="0" cap="none" spc="0" normalizeH="0" baseline="0" noProof="0" dirty="0" smtClean="0">
            <a:ln>
              <a:noFill/>
            </a:ln>
            <a:solidFill>
              <a:schemeClr val="tx2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>
    <a:extraClrScheme>
      <a:clrScheme name="11_Zone Test 1">
        <a:dk1>
          <a:srgbClr val="0C0C0C"/>
        </a:dk1>
        <a:lt1>
          <a:srgbClr val="FFFFFF"/>
        </a:lt1>
        <a:dk2>
          <a:srgbClr val="333333"/>
        </a:dk2>
        <a:lt2>
          <a:srgbClr val="808080"/>
        </a:lt2>
        <a:accent1>
          <a:srgbClr val="002C5F"/>
        </a:accent1>
        <a:accent2>
          <a:srgbClr val="53682B"/>
        </a:accent2>
        <a:accent3>
          <a:srgbClr val="FFFFFF"/>
        </a:accent3>
        <a:accent4>
          <a:srgbClr val="090909"/>
        </a:accent4>
        <a:accent5>
          <a:srgbClr val="AAACB6"/>
        </a:accent5>
        <a:accent6>
          <a:srgbClr val="4A5E26"/>
        </a:accent6>
        <a:hlink>
          <a:srgbClr val="0065BD"/>
        </a:hlink>
        <a:folHlink>
          <a:srgbClr val="EAAB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7_Embraco Presentations Template 01">
  <a:themeElements>
    <a:clrScheme name="11_Zone Test 1">
      <a:dk1>
        <a:srgbClr val="0C0C0C"/>
      </a:dk1>
      <a:lt1>
        <a:srgbClr val="FFFFFF"/>
      </a:lt1>
      <a:dk2>
        <a:srgbClr val="333333"/>
      </a:dk2>
      <a:lt2>
        <a:srgbClr val="808080"/>
      </a:lt2>
      <a:accent1>
        <a:srgbClr val="002C5F"/>
      </a:accent1>
      <a:accent2>
        <a:srgbClr val="53682B"/>
      </a:accent2>
      <a:accent3>
        <a:srgbClr val="FFFFFF"/>
      </a:accent3>
      <a:accent4>
        <a:srgbClr val="090909"/>
      </a:accent4>
      <a:accent5>
        <a:srgbClr val="AAACB6"/>
      </a:accent5>
      <a:accent6>
        <a:srgbClr val="4A5E26"/>
      </a:accent6>
      <a:hlink>
        <a:srgbClr val="0065BD"/>
      </a:hlink>
      <a:folHlink>
        <a:srgbClr val="EAAB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rgbClr val="FF9900">
              <a:gamma/>
              <a:shade val="60000"/>
              <a:invGamma/>
            </a:srgbClr>
          </a:prstShdw>
        </a:effectLst>
      </a:spPr>
      <a:bodyPr vert="horz" wrap="square" lIns="0" tIns="45720" rIns="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3399FF"/>
          </a:buClr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rgbClr val="FF9900">
              <a:gamma/>
              <a:shade val="60000"/>
              <a:invGamma/>
            </a:srgbClr>
          </a:prstShdw>
        </a:effectLst>
      </a:spPr>
      <a:bodyPr vert="horz" wrap="square" lIns="0" tIns="45720" rIns="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3399FF"/>
          </a:buClr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  <a:txDef>
      <a:spPr/>
      <a:bodyPr/>
      <a:lstStyle>
        <a:defPPr marL="342900" marR="0" indent="-34290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ts val="600"/>
          </a:spcAft>
          <a:buClrTx/>
          <a:buSzTx/>
          <a:buFontTx/>
          <a:buNone/>
          <a:tabLst/>
          <a:defRPr kumimoji="0" sz="2000" b="1" i="0" u="none" strike="noStrike" kern="0" cap="none" spc="0" normalizeH="0" baseline="0" noProof="0" dirty="0" smtClean="0">
            <a:ln>
              <a:noFill/>
            </a:ln>
            <a:solidFill>
              <a:schemeClr val="tx2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>
    <a:extraClrScheme>
      <a:clrScheme name="11_Zone Test 1">
        <a:dk1>
          <a:srgbClr val="0C0C0C"/>
        </a:dk1>
        <a:lt1>
          <a:srgbClr val="FFFFFF"/>
        </a:lt1>
        <a:dk2>
          <a:srgbClr val="333333"/>
        </a:dk2>
        <a:lt2>
          <a:srgbClr val="808080"/>
        </a:lt2>
        <a:accent1>
          <a:srgbClr val="002C5F"/>
        </a:accent1>
        <a:accent2>
          <a:srgbClr val="53682B"/>
        </a:accent2>
        <a:accent3>
          <a:srgbClr val="FFFFFF"/>
        </a:accent3>
        <a:accent4>
          <a:srgbClr val="090909"/>
        </a:accent4>
        <a:accent5>
          <a:srgbClr val="AAACB6"/>
        </a:accent5>
        <a:accent6>
          <a:srgbClr val="4A5E26"/>
        </a:accent6>
        <a:hlink>
          <a:srgbClr val="0065BD"/>
        </a:hlink>
        <a:folHlink>
          <a:srgbClr val="EAAB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8_Embraco Presentations Template 01">
  <a:themeElements>
    <a:clrScheme name="11_Zone Test 1">
      <a:dk1>
        <a:srgbClr val="0C0C0C"/>
      </a:dk1>
      <a:lt1>
        <a:srgbClr val="FFFFFF"/>
      </a:lt1>
      <a:dk2>
        <a:srgbClr val="333333"/>
      </a:dk2>
      <a:lt2>
        <a:srgbClr val="808080"/>
      </a:lt2>
      <a:accent1>
        <a:srgbClr val="002C5F"/>
      </a:accent1>
      <a:accent2>
        <a:srgbClr val="53682B"/>
      </a:accent2>
      <a:accent3>
        <a:srgbClr val="FFFFFF"/>
      </a:accent3>
      <a:accent4>
        <a:srgbClr val="090909"/>
      </a:accent4>
      <a:accent5>
        <a:srgbClr val="AAACB6"/>
      </a:accent5>
      <a:accent6>
        <a:srgbClr val="4A5E26"/>
      </a:accent6>
      <a:hlink>
        <a:srgbClr val="0065BD"/>
      </a:hlink>
      <a:folHlink>
        <a:srgbClr val="EAAB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rgbClr val="FF9900">
              <a:gamma/>
              <a:shade val="60000"/>
              <a:invGamma/>
            </a:srgbClr>
          </a:prstShdw>
        </a:effectLst>
      </a:spPr>
      <a:bodyPr vert="horz" wrap="square" lIns="0" tIns="45720" rIns="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3399FF"/>
          </a:buClr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rgbClr val="FF9900">
              <a:gamma/>
              <a:shade val="60000"/>
              <a:invGamma/>
            </a:srgbClr>
          </a:prstShdw>
        </a:effectLst>
      </a:spPr>
      <a:bodyPr vert="horz" wrap="square" lIns="0" tIns="45720" rIns="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3399FF"/>
          </a:buClr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  <a:txDef>
      <a:spPr/>
      <a:bodyPr/>
      <a:lstStyle>
        <a:defPPr marL="342900" marR="0" indent="-34290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ts val="600"/>
          </a:spcAft>
          <a:buClrTx/>
          <a:buSzTx/>
          <a:buFontTx/>
          <a:buNone/>
          <a:tabLst/>
          <a:defRPr kumimoji="0" sz="2000" b="1" i="0" u="none" strike="noStrike" kern="0" cap="none" spc="0" normalizeH="0" baseline="0" noProof="0" dirty="0" smtClean="0">
            <a:ln>
              <a:noFill/>
            </a:ln>
            <a:solidFill>
              <a:schemeClr val="tx2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>
    <a:extraClrScheme>
      <a:clrScheme name="11_Zone Test 1">
        <a:dk1>
          <a:srgbClr val="0C0C0C"/>
        </a:dk1>
        <a:lt1>
          <a:srgbClr val="FFFFFF"/>
        </a:lt1>
        <a:dk2>
          <a:srgbClr val="333333"/>
        </a:dk2>
        <a:lt2>
          <a:srgbClr val="808080"/>
        </a:lt2>
        <a:accent1>
          <a:srgbClr val="002C5F"/>
        </a:accent1>
        <a:accent2>
          <a:srgbClr val="53682B"/>
        </a:accent2>
        <a:accent3>
          <a:srgbClr val="FFFFFF"/>
        </a:accent3>
        <a:accent4>
          <a:srgbClr val="090909"/>
        </a:accent4>
        <a:accent5>
          <a:srgbClr val="AAACB6"/>
        </a:accent5>
        <a:accent6>
          <a:srgbClr val="4A5E26"/>
        </a:accent6>
        <a:hlink>
          <a:srgbClr val="0065BD"/>
        </a:hlink>
        <a:folHlink>
          <a:srgbClr val="EAAB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9_Embraco Presentations Template 01">
  <a:themeElements>
    <a:clrScheme name="11_Zone Test 1">
      <a:dk1>
        <a:srgbClr val="0C0C0C"/>
      </a:dk1>
      <a:lt1>
        <a:srgbClr val="FFFFFF"/>
      </a:lt1>
      <a:dk2>
        <a:srgbClr val="333333"/>
      </a:dk2>
      <a:lt2>
        <a:srgbClr val="808080"/>
      </a:lt2>
      <a:accent1>
        <a:srgbClr val="002C5F"/>
      </a:accent1>
      <a:accent2>
        <a:srgbClr val="53682B"/>
      </a:accent2>
      <a:accent3>
        <a:srgbClr val="FFFFFF"/>
      </a:accent3>
      <a:accent4>
        <a:srgbClr val="090909"/>
      </a:accent4>
      <a:accent5>
        <a:srgbClr val="AAACB6"/>
      </a:accent5>
      <a:accent6>
        <a:srgbClr val="4A5E26"/>
      </a:accent6>
      <a:hlink>
        <a:srgbClr val="0065BD"/>
      </a:hlink>
      <a:folHlink>
        <a:srgbClr val="EAAB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rgbClr val="FF9900">
              <a:gamma/>
              <a:shade val="60000"/>
              <a:invGamma/>
            </a:srgbClr>
          </a:prstShdw>
        </a:effectLst>
      </a:spPr>
      <a:bodyPr vert="horz" wrap="square" lIns="0" tIns="45720" rIns="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3399FF"/>
          </a:buClr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rgbClr val="FF9900">
              <a:gamma/>
              <a:shade val="60000"/>
              <a:invGamma/>
            </a:srgbClr>
          </a:prstShdw>
        </a:effectLst>
      </a:spPr>
      <a:bodyPr vert="horz" wrap="square" lIns="0" tIns="45720" rIns="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3399FF"/>
          </a:buClr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  <a:txDef>
      <a:spPr/>
      <a:bodyPr/>
      <a:lstStyle>
        <a:defPPr marL="342900" marR="0" indent="-34290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ts val="600"/>
          </a:spcAft>
          <a:buClrTx/>
          <a:buSzTx/>
          <a:buFontTx/>
          <a:buNone/>
          <a:tabLst/>
          <a:defRPr kumimoji="0" sz="2000" b="1" i="0" u="none" strike="noStrike" kern="0" cap="none" spc="0" normalizeH="0" baseline="0" noProof="0" dirty="0" smtClean="0">
            <a:ln>
              <a:noFill/>
            </a:ln>
            <a:solidFill>
              <a:schemeClr val="tx2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>
    <a:extraClrScheme>
      <a:clrScheme name="11_Zone Test 1">
        <a:dk1>
          <a:srgbClr val="0C0C0C"/>
        </a:dk1>
        <a:lt1>
          <a:srgbClr val="FFFFFF"/>
        </a:lt1>
        <a:dk2>
          <a:srgbClr val="333333"/>
        </a:dk2>
        <a:lt2>
          <a:srgbClr val="808080"/>
        </a:lt2>
        <a:accent1>
          <a:srgbClr val="002C5F"/>
        </a:accent1>
        <a:accent2>
          <a:srgbClr val="53682B"/>
        </a:accent2>
        <a:accent3>
          <a:srgbClr val="FFFFFF"/>
        </a:accent3>
        <a:accent4>
          <a:srgbClr val="090909"/>
        </a:accent4>
        <a:accent5>
          <a:srgbClr val="AAACB6"/>
        </a:accent5>
        <a:accent6>
          <a:srgbClr val="4A5E26"/>
        </a:accent6>
        <a:hlink>
          <a:srgbClr val="0065BD"/>
        </a:hlink>
        <a:folHlink>
          <a:srgbClr val="EAAB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20_Embraco Presentations Template 01">
  <a:themeElements>
    <a:clrScheme name="11_Zone Test 1">
      <a:dk1>
        <a:srgbClr val="0C0C0C"/>
      </a:dk1>
      <a:lt1>
        <a:srgbClr val="FFFFFF"/>
      </a:lt1>
      <a:dk2>
        <a:srgbClr val="333333"/>
      </a:dk2>
      <a:lt2>
        <a:srgbClr val="808080"/>
      </a:lt2>
      <a:accent1>
        <a:srgbClr val="002C5F"/>
      </a:accent1>
      <a:accent2>
        <a:srgbClr val="53682B"/>
      </a:accent2>
      <a:accent3>
        <a:srgbClr val="FFFFFF"/>
      </a:accent3>
      <a:accent4>
        <a:srgbClr val="090909"/>
      </a:accent4>
      <a:accent5>
        <a:srgbClr val="AAACB6"/>
      </a:accent5>
      <a:accent6>
        <a:srgbClr val="4A5E26"/>
      </a:accent6>
      <a:hlink>
        <a:srgbClr val="0065BD"/>
      </a:hlink>
      <a:folHlink>
        <a:srgbClr val="EAAB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rgbClr val="FF9900">
              <a:gamma/>
              <a:shade val="60000"/>
              <a:invGamma/>
            </a:srgbClr>
          </a:prstShdw>
        </a:effectLst>
      </a:spPr>
      <a:bodyPr vert="horz" wrap="square" lIns="0" tIns="45720" rIns="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3399FF"/>
          </a:buClr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rgbClr val="FF9900">
              <a:gamma/>
              <a:shade val="60000"/>
              <a:invGamma/>
            </a:srgbClr>
          </a:prstShdw>
        </a:effectLst>
      </a:spPr>
      <a:bodyPr vert="horz" wrap="square" lIns="0" tIns="45720" rIns="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3399FF"/>
          </a:buClr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  <a:txDef>
      <a:spPr/>
      <a:bodyPr/>
      <a:lstStyle>
        <a:defPPr marL="342900" marR="0" indent="-34290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ts val="600"/>
          </a:spcAft>
          <a:buClrTx/>
          <a:buSzTx/>
          <a:buFontTx/>
          <a:buNone/>
          <a:tabLst/>
          <a:defRPr kumimoji="0" sz="2000" b="1" i="0" u="none" strike="noStrike" kern="0" cap="none" spc="0" normalizeH="0" baseline="0" noProof="0" dirty="0" smtClean="0">
            <a:ln>
              <a:noFill/>
            </a:ln>
            <a:solidFill>
              <a:schemeClr val="tx2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>
    <a:extraClrScheme>
      <a:clrScheme name="11_Zone Test 1">
        <a:dk1>
          <a:srgbClr val="0C0C0C"/>
        </a:dk1>
        <a:lt1>
          <a:srgbClr val="FFFFFF"/>
        </a:lt1>
        <a:dk2>
          <a:srgbClr val="333333"/>
        </a:dk2>
        <a:lt2>
          <a:srgbClr val="808080"/>
        </a:lt2>
        <a:accent1>
          <a:srgbClr val="002C5F"/>
        </a:accent1>
        <a:accent2>
          <a:srgbClr val="53682B"/>
        </a:accent2>
        <a:accent3>
          <a:srgbClr val="FFFFFF"/>
        </a:accent3>
        <a:accent4>
          <a:srgbClr val="090909"/>
        </a:accent4>
        <a:accent5>
          <a:srgbClr val="AAACB6"/>
        </a:accent5>
        <a:accent6>
          <a:srgbClr val="4A5E26"/>
        </a:accent6>
        <a:hlink>
          <a:srgbClr val="0065BD"/>
        </a:hlink>
        <a:folHlink>
          <a:srgbClr val="EAAB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21_Embraco Presentations Template 01">
  <a:themeElements>
    <a:clrScheme name="11_Zone Test 1">
      <a:dk1>
        <a:srgbClr val="0C0C0C"/>
      </a:dk1>
      <a:lt1>
        <a:srgbClr val="FFFFFF"/>
      </a:lt1>
      <a:dk2>
        <a:srgbClr val="333333"/>
      </a:dk2>
      <a:lt2>
        <a:srgbClr val="808080"/>
      </a:lt2>
      <a:accent1>
        <a:srgbClr val="002C5F"/>
      </a:accent1>
      <a:accent2>
        <a:srgbClr val="53682B"/>
      </a:accent2>
      <a:accent3>
        <a:srgbClr val="FFFFFF"/>
      </a:accent3>
      <a:accent4>
        <a:srgbClr val="090909"/>
      </a:accent4>
      <a:accent5>
        <a:srgbClr val="AAACB6"/>
      </a:accent5>
      <a:accent6>
        <a:srgbClr val="4A5E26"/>
      </a:accent6>
      <a:hlink>
        <a:srgbClr val="0065BD"/>
      </a:hlink>
      <a:folHlink>
        <a:srgbClr val="EAAB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rgbClr val="FF9900">
              <a:gamma/>
              <a:shade val="60000"/>
              <a:invGamma/>
            </a:srgbClr>
          </a:prstShdw>
        </a:effectLst>
      </a:spPr>
      <a:bodyPr vert="horz" wrap="square" lIns="0" tIns="45720" rIns="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3399FF"/>
          </a:buClr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rgbClr val="FF9900">
              <a:gamma/>
              <a:shade val="60000"/>
              <a:invGamma/>
            </a:srgbClr>
          </a:prstShdw>
        </a:effectLst>
      </a:spPr>
      <a:bodyPr vert="horz" wrap="square" lIns="0" tIns="45720" rIns="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3399FF"/>
          </a:buClr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  <a:txDef>
      <a:spPr/>
      <a:bodyPr/>
      <a:lstStyle>
        <a:defPPr marL="342900" marR="0" indent="-34290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ts val="600"/>
          </a:spcAft>
          <a:buClrTx/>
          <a:buSzTx/>
          <a:buFontTx/>
          <a:buNone/>
          <a:tabLst/>
          <a:defRPr kumimoji="0" sz="2000" b="1" i="0" u="none" strike="noStrike" kern="0" cap="none" spc="0" normalizeH="0" baseline="0" noProof="0" dirty="0" smtClean="0">
            <a:ln>
              <a:noFill/>
            </a:ln>
            <a:solidFill>
              <a:schemeClr val="tx2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>
    <a:extraClrScheme>
      <a:clrScheme name="11_Zone Test 1">
        <a:dk1>
          <a:srgbClr val="0C0C0C"/>
        </a:dk1>
        <a:lt1>
          <a:srgbClr val="FFFFFF"/>
        </a:lt1>
        <a:dk2>
          <a:srgbClr val="333333"/>
        </a:dk2>
        <a:lt2>
          <a:srgbClr val="808080"/>
        </a:lt2>
        <a:accent1>
          <a:srgbClr val="002C5F"/>
        </a:accent1>
        <a:accent2>
          <a:srgbClr val="53682B"/>
        </a:accent2>
        <a:accent3>
          <a:srgbClr val="FFFFFF"/>
        </a:accent3>
        <a:accent4>
          <a:srgbClr val="090909"/>
        </a:accent4>
        <a:accent5>
          <a:srgbClr val="AAACB6"/>
        </a:accent5>
        <a:accent6>
          <a:srgbClr val="4A5E26"/>
        </a:accent6>
        <a:hlink>
          <a:srgbClr val="0065BD"/>
        </a:hlink>
        <a:folHlink>
          <a:srgbClr val="EAAB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239</TotalTime>
  <Words>2293</Words>
  <Application>Microsoft Office PowerPoint</Application>
  <PresentationFormat>Apresentação na tela (4:3)</PresentationFormat>
  <Paragraphs>311</Paragraphs>
  <Slides>19</Slides>
  <Notes>19</Notes>
  <HiddenSlides>0</HiddenSlides>
  <MMClips>0</MMClips>
  <ScaleCrop>false</ScaleCrop>
  <HeadingPairs>
    <vt:vector size="6" baseType="variant">
      <vt:variant>
        <vt:lpstr>Tema</vt:lpstr>
      </vt:variant>
      <vt:variant>
        <vt:i4>11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19</vt:i4>
      </vt:variant>
    </vt:vector>
  </HeadingPairs>
  <TitlesOfParts>
    <vt:vector size="31" baseType="lpstr">
      <vt:lpstr>13_Embraco Presentations Template 01</vt:lpstr>
      <vt:lpstr>14_Embraco Presentations Template 01</vt:lpstr>
      <vt:lpstr>15_Embraco Presentations Template 01</vt:lpstr>
      <vt:lpstr>16_Embraco Presentations Template 01</vt:lpstr>
      <vt:lpstr>17_Embraco Presentations Template 01</vt:lpstr>
      <vt:lpstr>18_Embraco Presentations Template 01</vt:lpstr>
      <vt:lpstr>19_Embraco Presentations Template 01</vt:lpstr>
      <vt:lpstr>20_Embraco Presentations Template 01</vt:lpstr>
      <vt:lpstr>21_Embraco Presentations Template 01</vt:lpstr>
      <vt:lpstr>22_Embraco Presentations Template 01</vt:lpstr>
      <vt:lpstr>23_Embraco Presentations Template 01</vt:lpstr>
      <vt:lpstr>think-cell Slide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</vt:vector>
  </TitlesOfParts>
  <Company>EMBRACO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steinability main points</dc:title>
  <dc:creator>Embraco</dc:creator>
  <cp:lastModifiedBy>campor</cp:lastModifiedBy>
  <cp:revision>880</cp:revision>
  <dcterms:created xsi:type="dcterms:W3CDTF">2012-03-14T19:17:16Z</dcterms:created>
  <dcterms:modified xsi:type="dcterms:W3CDTF">2015-08-04T21:02:01Z</dcterms:modified>
</cp:coreProperties>
</file>